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notesSlides/notesSlide1.xml" ContentType="application/vnd.openxmlformats-officedocument.presentationml.notesSlide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notesSlides/notesSlide2.xml" ContentType="application/vnd.openxmlformats-officedocument.presentationml.notesSlide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64" r:id="rId5"/>
    <p:sldMasterId id="2147483900" r:id="rId6"/>
  </p:sldMasterIdLst>
  <p:notesMasterIdLst>
    <p:notesMasterId r:id="rId11"/>
  </p:notesMasterIdLst>
  <p:handoutMasterIdLst>
    <p:handoutMasterId r:id="rId12"/>
  </p:handoutMasterIdLst>
  <p:sldIdLst>
    <p:sldId id="2147482020" r:id="rId7"/>
    <p:sldId id="2147481976" r:id="rId8"/>
    <p:sldId id="2147481977" r:id="rId9"/>
    <p:sldId id="2147482003" r:id="rId10"/>
  </p:sldIdLst>
  <p:sldSz cx="12192000" cy="6858000"/>
  <p:notesSz cx="7102475" cy="938847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199670E-192C-9169-81E7-351D8C2D58CB}" name="Jenalle Huang" initials="JH" userId="S::jenalle_huang@mckinsey.com::2cf21d77-d186-4a5f-a9ba-71fd767305aa" providerId="AD"/>
  <p188:author id="{AFB86C3A-27FC-B28B-B17C-4230298D1603}" name="Khalid Yasin" initials="KY" userId="S::khalid_yasin@mckinsey.com::86ca5895-03c9-4852-aea5-2be9cf6f13d2" providerId="AD"/>
  <p188:author id="{CA497640-9F12-D0D7-23C7-745A10EB2387}" name="Srikanth Jayarajan" initials="SJ" userId="dMYpSlfjzFcYPEDsXjVgLmU1LCIkAjLNCqtAilE+2dM=" providerId="None"/>
  <p188:author id="{D000C1B9-D3BD-3AF1-EDED-7BFA45B7382D}" name="Sohee Hyung" initials="SH" userId="S::sohee_hyung@mckinsey.com::66b98295-4132-492a-9675-91bb056a2a86" providerId="AD"/>
  <p188:author id="{53E800BC-E4AE-ED5F-5050-D69A36B57389}" name="Hope Yao" initials="HY" userId="S::Hope_Yao@mckinsey.com::0f1ae0d8-dd4e-4651-9a89-245543c6fc99" providerId="AD"/>
  <p188:author id="{A61DDBD9-482B-A11C-2122-F7940ACF9C00}" name="Brady, Kristin (DTMB)" initials="B(" userId="S::bradyk4_michigan.gov#ext#@mckinsey.onmicrosoft.com::6ed8e0cf-2e76-468f-8ca6-b70cfa60658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77C78"/>
    <a:srgbClr val="DFECF5"/>
    <a:srgbClr val="D0D0D0"/>
    <a:srgbClr val="051C2C"/>
    <a:srgbClr val="000000"/>
    <a:srgbClr val="7F7F7F"/>
    <a:srgbClr val="AFC3FF"/>
    <a:srgbClr val="0D3171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0A30A1-386D-4EA6-AD23-737DAF4954EB}" v="9" dt="2024-05-08T17:40:36.3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66" d="100"/>
          <a:sy n="66" d="100"/>
        </p:scale>
        <p:origin x="64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lentina Losada" userId="12c76205-c9be-43ad-bc33-b218726c6d59" providerId="ADAL" clId="{BDF9A786-CD08-47DC-96EF-2B7A746FE381}"/>
    <pc:docChg chg="undo custSel addSld modSld sldOrd replTag">
      <pc:chgData name="Valentina Losada" userId="12c76205-c9be-43ad-bc33-b218726c6d59" providerId="ADAL" clId="{BDF9A786-CD08-47DC-96EF-2B7A746FE381}" dt="2024-03-18T21:40:31.466" v="2048"/>
      <pc:docMkLst>
        <pc:docMk/>
      </pc:docMkLst>
      <pc:sldChg chg="ord">
        <pc:chgData name="Valentina Losada" userId="12c76205-c9be-43ad-bc33-b218726c6d59" providerId="ADAL" clId="{BDF9A786-CD08-47DC-96EF-2B7A746FE381}" dt="2024-03-18T21:38:20.244" v="2016"/>
        <pc:sldMkLst>
          <pc:docMk/>
          <pc:sldMk cId="3346972096" sldId="2147481593"/>
        </pc:sldMkLst>
      </pc:sldChg>
      <pc:sldChg chg="addSp modSp mod delCm modCm">
        <pc:chgData name="Valentina Losada" userId="12c76205-c9be-43ad-bc33-b218726c6d59" providerId="ADAL" clId="{BDF9A786-CD08-47DC-96EF-2B7A746FE381}" dt="2024-03-18T17:54:50.796" v="106"/>
        <pc:sldMkLst>
          <pc:docMk/>
          <pc:sldMk cId="604887844" sldId="2147481958"/>
        </pc:sldMkLst>
        <pc:spChg chg="add mod">
          <ac:chgData name="Valentina Losada" userId="12c76205-c9be-43ad-bc33-b218726c6d59" providerId="ADAL" clId="{BDF9A786-CD08-47DC-96EF-2B7A746FE381}" dt="2024-03-18T17:51:23.258" v="48" actId="14100"/>
          <ac:spMkLst>
            <pc:docMk/>
            <pc:sldMk cId="604887844" sldId="2147481958"/>
            <ac:spMk id="2" creationId="{4788F08D-E7F0-9B03-CE97-3F40D94CCBDE}"/>
          </ac:spMkLst>
        </pc:spChg>
        <pc:spChg chg="mod">
          <ac:chgData name="Valentina Losada" userId="12c76205-c9be-43ad-bc33-b218726c6d59" providerId="ADAL" clId="{BDF9A786-CD08-47DC-96EF-2B7A746FE381}" dt="2024-03-18T17:54:23.839" v="104" actId="1076"/>
          <ac:spMkLst>
            <pc:docMk/>
            <pc:sldMk cId="604887844" sldId="2147481958"/>
            <ac:spMk id="31" creationId="{E2973341-61F6-AC7D-28EB-C7EAF1B6291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Valentina Losada" userId="12c76205-c9be-43ad-bc33-b218726c6d59" providerId="ADAL" clId="{BDF9A786-CD08-47DC-96EF-2B7A746FE381}" dt="2024-03-18T17:54:50.796" v="106"/>
              <pc2:cmMkLst xmlns:pc2="http://schemas.microsoft.com/office/powerpoint/2019/9/main/command">
                <pc:docMk/>
                <pc:sldMk cId="604887844" sldId="2147481958"/>
                <pc2:cmMk id="{9A2F4F8A-B29B-4B02-BA5A-E912C3A22C89}"/>
              </pc2:cmMkLst>
            </pc226:cmChg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7:54:47.011" v="105"/>
              <pc2:cmMkLst xmlns:pc2="http://schemas.microsoft.com/office/powerpoint/2019/9/main/command">
                <pc:docMk/>
                <pc:sldMk cId="604887844" sldId="2147481958"/>
                <pc2:cmMk id="{6EF1E58E-53D3-4059-B890-2664FEE327E2}"/>
              </pc2:cmMkLst>
            </pc226:cmChg>
          </p:ext>
        </pc:extLst>
      </pc:sldChg>
      <pc:sldChg chg="addSp modSp mod delCm">
        <pc:chgData name="Valentina Losada" userId="12c76205-c9be-43ad-bc33-b218726c6d59" providerId="ADAL" clId="{BDF9A786-CD08-47DC-96EF-2B7A746FE381}" dt="2024-03-18T18:08:43.820" v="466"/>
        <pc:sldMkLst>
          <pc:docMk/>
          <pc:sldMk cId="3479952278" sldId="2147481964"/>
        </pc:sldMkLst>
        <pc:spChg chg="add mod">
          <ac:chgData name="Valentina Losada" userId="12c76205-c9be-43ad-bc33-b218726c6d59" providerId="ADAL" clId="{BDF9A786-CD08-47DC-96EF-2B7A746FE381}" dt="2024-03-18T18:08:20.774" v="454" actId="21"/>
          <ac:spMkLst>
            <pc:docMk/>
            <pc:sldMk cId="3479952278" sldId="2147481964"/>
            <ac:spMk id="2" creationId="{22B325B7-5866-F65C-8125-23EDF80310D8}"/>
          </ac:spMkLst>
        </pc:spChg>
        <pc:spChg chg="add mod">
          <ac:chgData name="Valentina Losada" userId="12c76205-c9be-43ad-bc33-b218726c6d59" providerId="ADAL" clId="{BDF9A786-CD08-47DC-96EF-2B7A746FE381}" dt="2024-03-18T18:08:38.645" v="465" actId="554"/>
          <ac:spMkLst>
            <pc:docMk/>
            <pc:sldMk cId="3479952278" sldId="2147481964"/>
            <ac:spMk id="3" creationId="{7E02E8EE-36BF-5CA7-B1BB-93952D585DC5}"/>
          </ac:spMkLst>
        </pc:spChg>
        <pc:spChg chg="add mod">
          <ac:chgData name="Valentina Losada" userId="12c76205-c9be-43ad-bc33-b218726c6d59" providerId="ADAL" clId="{BDF9A786-CD08-47DC-96EF-2B7A746FE381}" dt="2024-03-18T18:08:38.645" v="465" actId="554"/>
          <ac:spMkLst>
            <pc:docMk/>
            <pc:sldMk cId="3479952278" sldId="2147481964"/>
            <ac:spMk id="9" creationId="{22654C91-BC25-A656-271B-28986DE698FA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11" creationId="{4C921500-684D-5AEE-97EB-B070CD5D5E96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2" creationId="{F680E92F-CBDF-9AD1-AA8E-431540E28FDC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3" creationId="{4591D3EA-DB8F-A34D-731D-B07806EE423C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6" creationId="{0E6ABC72-D993-7B3E-DA86-AB8F778AEEB5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7" creationId="{F3E5D996-9CC7-DC5C-9F50-D6EA6285C375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26" creationId="{B45C0AC6-D3FD-B07C-4059-40E781D7913B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27" creationId="{900B1F6A-A6A0-3D0C-3689-7470977C6D55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29" creationId="{1D09D4DD-2D19-BFA8-206D-ED76E70BB157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32" creationId="{B7DB93CE-FE85-73C1-4462-42152E3C8A14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36" creationId="{DF4C5381-25A6-DCB4-AC7E-E88D4C851FDC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38" creationId="{2B8D2B02-D14B-D426-FF88-A537A4D8E3CE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40" creationId="{B7BA88C0-7785-9304-8016-ECCD0B34D7D4}"/>
          </ac:spMkLst>
        </pc:spChg>
        <pc:spChg chg="mod">
          <ac:chgData name="Valentina Losada" userId="12c76205-c9be-43ad-bc33-b218726c6d59" providerId="ADAL" clId="{BDF9A786-CD08-47DC-96EF-2B7A746FE381}" dt="2024-03-18T18:08:18.292" v="453" actId="552"/>
          <ac:spMkLst>
            <pc:docMk/>
            <pc:sldMk cId="3479952278" sldId="2147481964"/>
            <ac:spMk id="42" creationId="{F547F3AA-A523-2799-960F-7B51D1D6F4BF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51" creationId="{E9F62DE6-BB41-4807-A069-EA5570E435B4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53" creationId="{B43C5260-E0CB-04CE-8696-028D9266C395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55" creationId="{59863901-D025-1EBF-D033-E4389126C11A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57" creationId="{564D6680-6E9C-B591-C22F-B4DAC4EEE171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59" creationId="{461EBE93-A942-D37F-0EA6-4127F50B4177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61" creationId="{6B52B64C-812F-B6DB-8CC1-7B1060402C93}"/>
          </ac:spMkLst>
        </pc:spChg>
        <pc:spChg chg="mod">
          <ac:chgData name="Valentina Losada" userId="12c76205-c9be-43ad-bc33-b218726c6d59" providerId="ADAL" clId="{BDF9A786-CD08-47DC-96EF-2B7A746FE381}" dt="2024-03-18T18:05:45.760" v="379" actId="14100"/>
          <ac:spMkLst>
            <pc:docMk/>
            <pc:sldMk cId="3479952278" sldId="2147481964"/>
            <ac:spMk id="62" creationId="{B6864473-1AC1-F9E9-625A-2261C9C920AA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66" creationId="{4A495D2A-1EAA-E711-3C78-3A1C097569FD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68" creationId="{262EF905-8620-AF0D-C546-7C476C146C41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70" creationId="{18BA986B-6830-A002-2EA8-9659C73CF2C3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83" creationId="{3A8E6C31-DE89-0D26-F308-215F19466598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93" creationId="{FA8CEFD0-FE07-6316-58F7-94929284E594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101" creationId="{800CEA82-CFB6-1C42-8101-E0CE985B814D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13" creationId="{E1388998-132B-39C4-8495-3F4FD2364A89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14" creationId="{57CB75FE-62B8-759E-4633-C62F847F0E2F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119" creationId="{18A994BF-8F1E-FC39-E2EF-93CD24C990F0}"/>
          </ac:spMkLst>
        </pc:spChg>
        <pc:spChg chg="mod">
          <ac:chgData name="Valentina Losada" userId="12c76205-c9be-43ad-bc33-b218726c6d59" providerId="ADAL" clId="{BDF9A786-CD08-47DC-96EF-2B7A746FE381}" dt="2024-03-18T18:05:56.692" v="395" actId="1035"/>
          <ac:spMkLst>
            <pc:docMk/>
            <pc:sldMk cId="3479952278" sldId="2147481964"/>
            <ac:spMk id="123" creationId="{1A6885FC-6AA9-86D9-4F44-F006FA82F016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29" creationId="{C12A68E0-98C4-7D70-5582-FBFBF03AA76A}"/>
          </ac:spMkLst>
        </pc:spChg>
        <pc:spChg chg="mod">
          <ac:chgData name="Valentina Losada" userId="12c76205-c9be-43ad-bc33-b218726c6d59" providerId="ADAL" clId="{BDF9A786-CD08-47DC-96EF-2B7A746FE381}" dt="2024-03-18T18:06:04.835" v="410" actId="1036"/>
          <ac:spMkLst>
            <pc:docMk/>
            <pc:sldMk cId="3479952278" sldId="2147481964"/>
            <ac:spMk id="131" creationId="{87C01978-5859-5940-4D8D-0CCA3D68AFEC}"/>
          </ac:spMkLst>
        </pc:spChg>
        <pc:cxnChg chg="mod">
          <ac:chgData name="Valentina Losada" userId="12c76205-c9be-43ad-bc33-b218726c6d59" providerId="ADAL" clId="{BDF9A786-CD08-47DC-96EF-2B7A746FE381}" dt="2024-03-18T18:05:56.692" v="395" actId="1035"/>
          <ac:cxnSpMkLst>
            <pc:docMk/>
            <pc:sldMk cId="3479952278" sldId="2147481964"/>
            <ac:cxnSpMk id="22" creationId="{FA897F6D-A955-A86C-2A79-0A0C96827895}"/>
          </ac:cxnSpMkLst>
        </pc:cxnChg>
        <pc:cxnChg chg="mod">
          <ac:chgData name="Valentina Losada" userId="12c76205-c9be-43ad-bc33-b218726c6d59" providerId="ADAL" clId="{BDF9A786-CD08-47DC-96EF-2B7A746FE381}" dt="2024-03-18T18:05:56.692" v="395" actId="1035"/>
          <ac:cxnSpMkLst>
            <pc:docMk/>
            <pc:sldMk cId="3479952278" sldId="2147481964"/>
            <ac:cxnSpMk id="24" creationId="{73264085-19D2-8E92-BD83-5DEE1A2AAB60}"/>
          </ac:cxnSpMkLst>
        </pc:cxnChg>
        <pc:cxnChg chg="mod">
          <ac:chgData name="Valentina Losada" userId="12c76205-c9be-43ad-bc33-b218726c6d59" providerId="ADAL" clId="{BDF9A786-CD08-47DC-96EF-2B7A746FE381}" dt="2024-03-18T18:05:56.692" v="395" actId="1035"/>
          <ac:cxnSpMkLst>
            <pc:docMk/>
            <pc:sldMk cId="3479952278" sldId="2147481964"/>
            <ac:cxnSpMk id="75" creationId="{3A07D395-AF54-D1C1-AA8C-424F674F4D72}"/>
          </ac:cxnSpMkLst>
        </pc:cxnChg>
        <pc:cxnChg chg="mod">
          <ac:chgData name="Valentina Losada" userId="12c76205-c9be-43ad-bc33-b218726c6d59" providerId="ADAL" clId="{BDF9A786-CD08-47DC-96EF-2B7A746FE381}" dt="2024-03-18T18:05:56.692" v="395" actId="1035"/>
          <ac:cxnSpMkLst>
            <pc:docMk/>
            <pc:sldMk cId="3479952278" sldId="2147481964"/>
            <ac:cxnSpMk id="76" creationId="{CB578603-ACCE-EFF8-3360-8DDFF0C32C19}"/>
          </ac:cxnSpMkLst>
        </pc:cxnChg>
        <pc:cxnChg chg="mod">
          <ac:chgData name="Valentina Losada" userId="12c76205-c9be-43ad-bc33-b218726c6d59" providerId="ADAL" clId="{BDF9A786-CD08-47DC-96EF-2B7A746FE381}" dt="2024-03-18T18:06:04.835" v="410" actId="1036"/>
          <ac:cxnSpMkLst>
            <pc:docMk/>
            <pc:sldMk cId="3479952278" sldId="2147481964"/>
            <ac:cxnSpMk id="80" creationId="{D83BA48A-0F2B-9EA6-8663-88F8879FDADA}"/>
          </ac:cxnSpMkLst>
        </pc:cxnChg>
        <pc:cxnChg chg="mod">
          <ac:chgData name="Valentina Losada" userId="12c76205-c9be-43ad-bc33-b218726c6d59" providerId="ADAL" clId="{BDF9A786-CD08-47DC-96EF-2B7A746FE381}" dt="2024-03-18T18:06:04.835" v="410" actId="1036"/>
          <ac:cxnSpMkLst>
            <pc:docMk/>
            <pc:sldMk cId="3479952278" sldId="2147481964"/>
            <ac:cxnSpMk id="88" creationId="{95E7844F-0AEE-4A70-9474-D044DBC8DBBA}"/>
          </ac:cxnSpMkLst>
        </pc:cxnChg>
        <pc:cxnChg chg="mod">
          <ac:chgData name="Valentina Losada" userId="12c76205-c9be-43ad-bc33-b218726c6d59" providerId="ADAL" clId="{BDF9A786-CD08-47DC-96EF-2B7A746FE381}" dt="2024-03-18T18:06:04.835" v="410" actId="1036"/>
          <ac:cxnSpMkLst>
            <pc:docMk/>
            <pc:sldMk cId="3479952278" sldId="2147481964"/>
            <ac:cxnSpMk id="89" creationId="{A56FB7E5-76D7-6391-4630-848FB5A1120F}"/>
          </ac:cxnSpMkLst>
        </pc:cxnChg>
        <pc:cxnChg chg="mod">
          <ac:chgData name="Valentina Losada" userId="12c76205-c9be-43ad-bc33-b218726c6d59" providerId="ADAL" clId="{BDF9A786-CD08-47DC-96EF-2B7A746FE381}" dt="2024-03-18T18:06:04.835" v="410" actId="1036"/>
          <ac:cxnSpMkLst>
            <pc:docMk/>
            <pc:sldMk cId="3479952278" sldId="2147481964"/>
            <ac:cxnSpMk id="90" creationId="{E03282BC-CDBF-FC4F-5D72-2F619F4D2238}"/>
          </ac:cxnSpMkLst>
        </pc:cxnChg>
        <pc:cxnChg chg="mod">
          <ac:chgData name="Valentina Losada" userId="12c76205-c9be-43ad-bc33-b218726c6d59" providerId="ADAL" clId="{BDF9A786-CD08-47DC-96EF-2B7A746FE381}" dt="2024-03-18T18:06:04.835" v="410" actId="1036"/>
          <ac:cxnSpMkLst>
            <pc:docMk/>
            <pc:sldMk cId="3479952278" sldId="2147481964"/>
            <ac:cxnSpMk id="92" creationId="{D6A0B869-5E01-B877-BF5D-4B534727B4C7}"/>
          </ac:cxnSpMkLst>
        </pc:cxnChg>
        <pc:cxnChg chg="mod">
          <ac:chgData name="Valentina Losada" userId="12c76205-c9be-43ad-bc33-b218726c6d59" providerId="ADAL" clId="{BDF9A786-CD08-47DC-96EF-2B7A746FE381}" dt="2024-03-18T18:06:04.835" v="410" actId="1036"/>
          <ac:cxnSpMkLst>
            <pc:docMk/>
            <pc:sldMk cId="3479952278" sldId="2147481964"/>
            <ac:cxnSpMk id="94" creationId="{5424F003-1710-7C3B-4F0D-316ECE425E6B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05:09.595" v="262"/>
              <pc2:cmMkLst xmlns:pc2="http://schemas.microsoft.com/office/powerpoint/2019/9/main/command">
                <pc:docMk/>
                <pc:sldMk cId="3479952278" sldId="2147481964"/>
                <pc2:cmMk id="{F2F0794D-DEC5-4FE1-864A-E8AD746AA3F2}"/>
              </pc2:cmMkLst>
            </pc226:cmChg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05:05.979" v="261"/>
              <pc2:cmMkLst xmlns:pc2="http://schemas.microsoft.com/office/powerpoint/2019/9/main/command">
                <pc:docMk/>
                <pc:sldMk cId="3479952278" sldId="2147481964"/>
                <pc2:cmMk id="{8219106E-5E00-4622-B490-0205A6D4EA1B}"/>
              </pc2:cmMkLst>
            </pc226:cmChg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08:43.820" v="466"/>
              <pc2:cmMkLst xmlns:pc2="http://schemas.microsoft.com/office/powerpoint/2019/9/main/command">
                <pc:docMk/>
                <pc:sldMk cId="3479952278" sldId="2147481964"/>
                <pc2:cmMk id="{8A5FF1A1-E39E-4E09-AA74-CEDFFC2AEBAD}"/>
              </pc2:cmMkLst>
            </pc226:cmChg>
          </p:ext>
        </pc:extLst>
      </pc:sldChg>
      <pc:sldChg chg="delCm">
        <pc:chgData name="Valentina Losada" userId="12c76205-c9be-43ad-bc33-b218726c6d59" providerId="ADAL" clId="{BDF9A786-CD08-47DC-96EF-2B7A746FE381}" dt="2024-03-18T21:36:07.084" v="2000"/>
        <pc:sldMkLst>
          <pc:docMk/>
          <pc:sldMk cId="671389596" sldId="214748196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1:36:07.084" v="2000"/>
              <pc2:cmMkLst xmlns:pc2="http://schemas.microsoft.com/office/powerpoint/2019/9/main/command">
                <pc:docMk/>
                <pc:sldMk cId="671389596" sldId="2147481966"/>
                <pc2:cmMk id="{DD5C396E-0448-4984-A813-37461B8A3AB1}"/>
              </pc2:cmMkLst>
            </pc226:cmChg>
          </p:ext>
        </pc:extLst>
      </pc:sldChg>
      <pc:sldChg chg="modSp mod delCm">
        <pc:chgData name="Valentina Losada" userId="12c76205-c9be-43ad-bc33-b218726c6d59" providerId="ADAL" clId="{BDF9A786-CD08-47DC-96EF-2B7A746FE381}" dt="2024-03-18T21:38:49.412" v="2037" actId="113"/>
        <pc:sldMkLst>
          <pc:docMk/>
          <pc:sldMk cId="3617085390" sldId="2147481969"/>
        </pc:sldMkLst>
        <pc:spChg chg="mod">
          <ac:chgData name="Valentina Losada" userId="12c76205-c9be-43ad-bc33-b218726c6d59" providerId="ADAL" clId="{BDF9A786-CD08-47DC-96EF-2B7A746FE381}" dt="2024-03-18T21:38:49.412" v="2037" actId="113"/>
          <ac:spMkLst>
            <pc:docMk/>
            <pc:sldMk cId="3617085390" sldId="2147481969"/>
            <ac:spMk id="15" creationId="{37824DEB-57C5-040D-152C-09B87568C689}"/>
          </ac:spMkLst>
        </pc:spChg>
        <pc:cxnChg chg="mod">
          <ac:chgData name="Valentina Losada" userId="12c76205-c9be-43ad-bc33-b218726c6d59" providerId="ADAL" clId="{BDF9A786-CD08-47DC-96EF-2B7A746FE381}" dt="2024-03-18T21:38:42.399" v="2036" actId="1035"/>
          <ac:cxnSpMkLst>
            <pc:docMk/>
            <pc:sldMk cId="3617085390" sldId="2147481969"/>
            <ac:cxnSpMk id="3" creationId="{84B1FDFF-A0A8-3D36-BA35-AE2A4722BB86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29:09.953" v="659"/>
              <pc2:cmMkLst xmlns:pc2="http://schemas.microsoft.com/office/powerpoint/2019/9/main/command">
                <pc:docMk/>
                <pc:sldMk cId="3617085390" sldId="2147481969"/>
                <pc2:cmMk id="{05378A33-2632-43F0-B9B7-E30039C7E7B5}"/>
              </pc2:cmMkLst>
            </pc226:cmChg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25:25.414" v="620"/>
              <pc2:cmMkLst xmlns:pc2="http://schemas.microsoft.com/office/powerpoint/2019/9/main/command">
                <pc:docMk/>
                <pc:sldMk cId="3617085390" sldId="2147481969"/>
                <pc2:cmMk id="{21D5C5A2-9051-4BD3-8DC3-B3A121FBDEED}"/>
              </pc2:cmMkLst>
            </pc226:cmChg>
          </p:ext>
        </pc:extLst>
      </pc:sldChg>
      <pc:sldChg chg="modSp mod delCm">
        <pc:chgData name="Valentina Losada" userId="12c76205-c9be-43ad-bc33-b218726c6d59" providerId="ADAL" clId="{BDF9A786-CD08-47DC-96EF-2B7A746FE381}" dt="2024-03-18T21:13:23.849" v="1755" actId="20577"/>
        <pc:sldMkLst>
          <pc:docMk/>
          <pc:sldMk cId="2968502433" sldId="2147481971"/>
        </pc:sldMkLst>
        <pc:spChg chg="mod">
          <ac:chgData name="Valentina Losada" userId="12c76205-c9be-43ad-bc33-b218726c6d59" providerId="ADAL" clId="{BDF9A786-CD08-47DC-96EF-2B7A746FE381}" dt="2024-03-18T20:29:59.700" v="1193" actId="20577"/>
          <ac:spMkLst>
            <pc:docMk/>
            <pc:sldMk cId="2968502433" sldId="2147481971"/>
            <ac:spMk id="4" creationId="{BA84E4CF-863E-2BE7-5847-13FBFF6EB897}"/>
          </ac:spMkLst>
        </pc:spChg>
        <pc:spChg chg="mod">
          <ac:chgData name="Valentina Losada" userId="12c76205-c9be-43ad-bc33-b218726c6d59" providerId="ADAL" clId="{BDF9A786-CD08-47DC-96EF-2B7A746FE381}" dt="2024-03-18T21:13:23.849" v="1755" actId="20577"/>
          <ac:spMkLst>
            <pc:docMk/>
            <pc:sldMk cId="2968502433" sldId="2147481971"/>
            <ac:spMk id="12" creationId="{8F38CAA6-C6B1-CCEE-03DA-079F79524A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0:32:13.242" v="1256"/>
              <pc2:cmMkLst xmlns:pc2="http://schemas.microsoft.com/office/powerpoint/2019/9/main/command">
                <pc:docMk/>
                <pc:sldMk cId="2968502433" sldId="2147481971"/>
                <pc2:cmMk id="{E01ACD8B-1565-4225-AEE2-409367A1C30D}"/>
              </pc2:cmMkLst>
            </pc226:cmChg>
          </p:ext>
        </pc:extLst>
      </pc:sldChg>
      <pc:sldChg chg="modSp mod delCm">
        <pc:chgData name="Valentina Losada" userId="12c76205-c9be-43ad-bc33-b218726c6d59" providerId="ADAL" clId="{BDF9A786-CD08-47DC-96EF-2B7A746FE381}" dt="2024-03-18T21:13:16.086" v="1752"/>
        <pc:sldMkLst>
          <pc:docMk/>
          <pc:sldMk cId="3162163094" sldId="2147481972"/>
        </pc:sldMkLst>
        <pc:spChg chg="mod">
          <ac:chgData name="Valentina Losada" userId="12c76205-c9be-43ad-bc33-b218726c6d59" providerId="ADAL" clId="{BDF9A786-CD08-47DC-96EF-2B7A746FE381}" dt="2024-03-18T20:30:09.462" v="1194"/>
          <ac:spMkLst>
            <pc:docMk/>
            <pc:sldMk cId="3162163094" sldId="2147481972"/>
            <ac:spMk id="8" creationId="{8A22082C-3279-49BC-C162-588A27AD2734}"/>
          </ac:spMkLst>
        </pc:spChg>
        <pc:spChg chg="mod">
          <ac:chgData name="Valentina Losada" userId="12c76205-c9be-43ad-bc33-b218726c6d59" providerId="ADAL" clId="{BDF9A786-CD08-47DC-96EF-2B7A746FE381}" dt="2024-03-18T20:33:32.032" v="1263" actId="6549"/>
          <ac:spMkLst>
            <pc:docMk/>
            <pc:sldMk cId="3162163094" sldId="2147481972"/>
            <ac:spMk id="33" creationId="{A6693E13-D0DF-7EE1-4799-161D8F3395C7}"/>
          </ac:spMkLst>
        </pc:spChg>
        <pc:cxnChg chg="mod">
          <ac:chgData name="Valentina Losada" userId="12c76205-c9be-43ad-bc33-b218726c6d59" providerId="ADAL" clId="{BDF9A786-CD08-47DC-96EF-2B7A746FE381}" dt="2024-03-18T21:12:19.115" v="1751" actId="1076"/>
          <ac:cxnSpMkLst>
            <pc:docMk/>
            <pc:sldMk cId="3162163094" sldId="2147481972"/>
            <ac:cxnSpMk id="21" creationId="{2D01406B-8B97-496F-614B-C3847EFDE35F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1:13:16.086" v="1752"/>
              <pc2:cmMkLst xmlns:pc2="http://schemas.microsoft.com/office/powerpoint/2019/9/main/command">
                <pc:docMk/>
                <pc:sldMk cId="3162163094" sldId="2147481972"/>
                <pc2:cmMk id="{8796D5A8-0766-452A-A51D-BE6EF041406B}"/>
              </pc2:cmMkLst>
            </pc226:cmChg>
          </p:ext>
        </pc:extLst>
      </pc:sldChg>
      <pc:sldChg chg="addSp delSp modSp mod">
        <pc:chgData name="Valentina Losada" userId="12c76205-c9be-43ad-bc33-b218726c6d59" providerId="ADAL" clId="{BDF9A786-CD08-47DC-96EF-2B7A746FE381}" dt="2024-03-18T21:11:45.640" v="1749" actId="255"/>
        <pc:sldMkLst>
          <pc:docMk/>
          <pc:sldMk cId="1438332076" sldId="2147481973"/>
        </pc:sldMkLst>
        <pc:spChg chg="add del mod modVis">
          <ac:chgData name="Valentina Losada" userId="12c76205-c9be-43ad-bc33-b218726c6d59" providerId="ADAL" clId="{BDF9A786-CD08-47DC-96EF-2B7A746FE381}" dt="2024-03-18T20:37:48.832" v="1349"/>
          <ac:spMkLst>
            <pc:docMk/>
            <pc:sldMk cId="1438332076" sldId="2147481973"/>
            <ac:spMk id="2" creationId="{AC718702-D56A-3906-287B-F33ECEE5257A}"/>
          </ac:spMkLst>
        </pc:spChg>
        <pc:spChg chg="add del mod modVis">
          <ac:chgData name="Valentina Losada" userId="12c76205-c9be-43ad-bc33-b218726c6d59" providerId="ADAL" clId="{BDF9A786-CD08-47DC-96EF-2B7A746FE381}" dt="2024-03-18T20:37:50.581" v="1381"/>
          <ac:spMkLst>
            <pc:docMk/>
            <pc:sldMk cId="1438332076" sldId="2147481973"/>
            <ac:spMk id="3" creationId="{28E35EA0-E3BF-9F17-4DE4-FA63FE0FE306}"/>
          </ac:spMkLst>
        </pc:spChg>
        <pc:spChg chg="mod">
          <ac:chgData name="Valentina Losada" userId="12c76205-c9be-43ad-bc33-b218726c6d59" providerId="ADAL" clId="{BDF9A786-CD08-47DC-96EF-2B7A746FE381}" dt="2024-03-18T21:11:23" v="1716"/>
          <ac:spMkLst>
            <pc:docMk/>
            <pc:sldMk cId="1438332076" sldId="2147481973"/>
            <ac:spMk id="5" creationId="{1350216A-E851-6782-416D-8A0DC6BBC7B0}"/>
          </ac:spMkLst>
        </pc:spChg>
        <pc:spChg chg="mod">
          <ac:chgData name="Valentina Losada" userId="12c76205-c9be-43ad-bc33-b218726c6d59" providerId="ADAL" clId="{BDF9A786-CD08-47DC-96EF-2B7A746FE381}" dt="2024-03-18T20:30:14.423" v="1195"/>
          <ac:spMkLst>
            <pc:docMk/>
            <pc:sldMk cId="1438332076" sldId="2147481973"/>
            <ac:spMk id="8" creationId="{8A22082C-3279-49BC-C162-588A27AD2734}"/>
          </ac:spMkLst>
        </pc:spChg>
        <pc:spChg chg="add del mod modVis">
          <ac:chgData name="Valentina Losada" userId="12c76205-c9be-43ad-bc33-b218726c6d59" providerId="ADAL" clId="{BDF9A786-CD08-47DC-96EF-2B7A746FE381}" dt="2024-03-18T20:37:52.347" v="1415"/>
          <ac:spMkLst>
            <pc:docMk/>
            <pc:sldMk cId="1438332076" sldId="2147481973"/>
            <ac:spMk id="9" creationId="{51F5A196-4CC7-C041-5B08-6EB7C65AE581}"/>
          </ac:spMkLst>
        </pc:spChg>
        <pc:spChg chg="add del mod modVis">
          <ac:chgData name="Valentina Losada" userId="12c76205-c9be-43ad-bc33-b218726c6d59" providerId="ADAL" clId="{BDF9A786-CD08-47DC-96EF-2B7A746FE381}" dt="2024-03-18T20:37:52.887" v="1443"/>
          <ac:spMkLst>
            <pc:docMk/>
            <pc:sldMk cId="1438332076" sldId="2147481973"/>
            <ac:spMk id="10" creationId="{94A86B5D-8D10-1249-FA0D-683E66EDCE66}"/>
          </ac:spMkLst>
        </pc:spChg>
        <pc:spChg chg="del">
          <ac:chgData name="Valentina Losada" userId="12c76205-c9be-43ad-bc33-b218726c6d59" providerId="ADAL" clId="{BDF9A786-CD08-47DC-96EF-2B7A746FE381}" dt="2024-03-18T20:37:55.594" v="1478" actId="478"/>
          <ac:spMkLst>
            <pc:docMk/>
            <pc:sldMk cId="1438332076" sldId="2147481973"/>
            <ac:spMk id="11" creationId="{477BC1FD-F390-48FD-05B0-23C88BA35F1A}"/>
          </ac:spMkLst>
        </pc:spChg>
        <pc:spChg chg="add del mod modVis">
          <ac:chgData name="Valentina Losada" userId="12c76205-c9be-43ad-bc33-b218726c6d59" providerId="ADAL" clId="{BDF9A786-CD08-47DC-96EF-2B7A746FE381}" dt="2024-03-18T20:37:53.893" v="1475"/>
          <ac:spMkLst>
            <pc:docMk/>
            <pc:sldMk cId="1438332076" sldId="2147481973"/>
            <ac:spMk id="12" creationId="{8ECFF014-FE6B-0EC4-BDDC-80A4518C4241}"/>
          </ac:spMkLst>
        </pc:spChg>
        <pc:spChg chg="add del mod modVis">
          <ac:chgData name="Valentina Losada" userId="12c76205-c9be-43ad-bc33-b218726c6d59" providerId="ADAL" clId="{BDF9A786-CD08-47DC-96EF-2B7A746FE381}" dt="2024-03-18T21:11:23.015" v="1740"/>
          <ac:spMkLst>
            <pc:docMk/>
            <pc:sldMk cId="1438332076" sldId="2147481973"/>
            <ac:spMk id="13" creationId="{EB0D87BC-C9AA-0D0B-6779-2945942C7EE5}"/>
          </ac:spMkLst>
        </pc:spChg>
        <pc:spChg chg="del">
          <ac:chgData name="Valentina Losada" userId="12c76205-c9be-43ad-bc33-b218726c6d59" providerId="ADAL" clId="{BDF9A786-CD08-47DC-96EF-2B7A746FE381}" dt="2024-03-18T20:39:33.455" v="1500" actId="478"/>
          <ac:spMkLst>
            <pc:docMk/>
            <pc:sldMk cId="1438332076" sldId="2147481973"/>
            <ac:spMk id="14" creationId="{B2406284-B4C3-E194-CB2B-137D9E775628}"/>
          </ac:spMkLst>
        </pc:spChg>
        <pc:spChg chg="mod">
          <ac:chgData name="Valentina Losada" userId="12c76205-c9be-43ad-bc33-b218726c6d59" providerId="ADAL" clId="{BDF9A786-CD08-47DC-96EF-2B7A746FE381}" dt="2024-03-18T21:11:45.640" v="1749" actId="255"/>
          <ac:spMkLst>
            <pc:docMk/>
            <pc:sldMk cId="1438332076" sldId="2147481973"/>
            <ac:spMk id="65" creationId="{E47E7055-EC6F-ED7A-7ADB-3B017D55C075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1" creationId="{E16153D9-0676-1CE8-99C8-994AD6F5C411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2" creationId="{95BE5516-BF56-255B-B970-9EFD931925F6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3" creationId="{C21FB580-71D4-EA96-792D-84C394E57EC7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4" creationId="{9C345AD7-1048-423A-30A8-133F920B808A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5" creationId="{294CC572-D70D-7BF9-BD2F-597C06D28276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6" creationId="{BDE8EE0C-ABDC-6802-3039-A2E1A9341B71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7" creationId="{D7EA04A7-C158-8CC9-782E-A7ED4F47C27F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8" creationId="{D07CD564-04C3-5913-6422-4B5E49658A94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89" creationId="{24107746-D8AC-088C-1FA0-039FE84F7BCB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0" creationId="{9F230CAA-C425-1AA6-2CD1-7360AB34713E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1" creationId="{B437EAAD-8221-6C31-2B2B-8D25576B4E5B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2" creationId="{827A5528-9169-B87C-7BC1-9CFE1DEFEAE9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3" creationId="{20741BCF-8812-F5C5-E2A6-41FCCA22EFD4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4" creationId="{D18FCC1C-712F-ACEE-4D5B-7AAD015EB8D0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5" creationId="{AE53B56E-B052-F0B7-669A-864D954B076D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6" creationId="{600DF328-E0D8-3E0D-3094-9E0335F913F3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7" creationId="{08F8D0E5-83F3-B2D7-3C42-669BEE7D0178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8" creationId="{60BFADB4-1BF0-5A89-E4F8-DE8DE446EB3A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199" creationId="{28590E18-10E6-73F9-D961-ACD77F121001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0" creationId="{D56F2660-E2B7-4523-E295-D827703FD8A2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1" creationId="{049249C4-CC2C-FA5D-282F-85134D78EF21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2" creationId="{B0EFE607-EFC2-8464-7DE8-45F7D69153B2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3" creationId="{378BA521-DC2D-EBFA-F832-B50C6DF922ED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4" creationId="{154763F3-B404-D6C1-5972-6C31C2829AB7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5" creationId="{811EDC2A-AE82-CF4C-9D19-DF7C3CAD5BA9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6" creationId="{6F94E69A-9EB4-EF07-70BA-36BF1E668B2B}"/>
          </ac:spMkLst>
        </pc:spChg>
        <pc:spChg chg="del">
          <ac:chgData name="Valentina Losada" userId="12c76205-c9be-43ad-bc33-b218726c6d59" providerId="ADAL" clId="{BDF9A786-CD08-47DC-96EF-2B7A746FE381}" dt="2024-03-18T20:38:00.186" v="1479" actId="478"/>
          <ac:spMkLst>
            <pc:docMk/>
            <pc:sldMk cId="1438332076" sldId="2147481973"/>
            <ac:spMk id="207" creationId="{BF125285-D7F2-AC7B-AB5C-0000DEF96ABF}"/>
          </ac:spMkLst>
        </pc:spChg>
        <pc:graphicFrameChg chg="mod">
          <ac:chgData name="Valentina Losada" userId="12c76205-c9be-43ad-bc33-b218726c6d59" providerId="ADAL" clId="{BDF9A786-CD08-47DC-96EF-2B7A746FE381}" dt="2024-03-18T21:11:23.030" v="1742"/>
          <ac:graphicFrameMkLst>
            <pc:docMk/>
            <pc:sldMk cId="1438332076" sldId="2147481973"/>
            <ac:graphicFrameMk id="6" creationId="{375E70C3-86D5-EC0C-CFBD-F3AECFFA718B}"/>
          </ac:graphicFrameMkLst>
        </pc:graphicFrame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08" creationId="{5E8011BC-C304-0E21-CE69-9B635B739F2C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0" creationId="{957B6E3E-821F-34DB-C970-77F61BFA71FB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1" creationId="{18132176-73CA-C6FA-D689-E57304CFCC4E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2" creationId="{4278020A-B609-66BC-6D6A-DD6B19F8D0BF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3" creationId="{11911A79-92A8-568A-6AF7-533FF9A4E64A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4" creationId="{923A8EE5-E34D-4BFB-A1DD-ECFD0D1002B8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5" creationId="{6DC79273-0CD4-551B-CCA2-D915860FE605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7" creationId="{B47B38AE-B808-9D07-34C2-79FA4B24B31A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8" creationId="{745633A4-4BA1-442F-6D0A-1E6AD65488EF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19" creationId="{58F8D299-97C2-698B-DA83-84B8197022F2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1" creationId="{AADB4994-BB12-D698-0B35-0A3BE7D65F08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2" creationId="{D382F473-FF8F-A8F7-DD76-407D6B1C79C8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3" creationId="{24B10CF1-AAB5-25C3-3107-A77C4C60372C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4" creationId="{8E856675-8050-0EF7-B2E1-5AABB6A0E040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6" creationId="{FCF5561A-B820-2364-1EBC-727B7B187395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7" creationId="{9096039D-F4A3-9C42-7D8E-B516432A86F2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8" creationId="{CCF5F429-5A3A-947D-C3EA-24C09677E53A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29" creationId="{979E4A03-EF98-25F1-A005-6CDE7939312B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31" creationId="{4F7A03C2-2BF4-F9EB-3F81-C706A7EBAC1B}"/>
          </ac:cxnSpMkLst>
        </pc:cxnChg>
        <pc:cxnChg chg="del">
          <ac:chgData name="Valentina Losada" userId="12c76205-c9be-43ad-bc33-b218726c6d59" providerId="ADAL" clId="{BDF9A786-CD08-47DC-96EF-2B7A746FE381}" dt="2024-03-18T20:38:00.186" v="1479" actId="478"/>
          <ac:cxnSpMkLst>
            <pc:docMk/>
            <pc:sldMk cId="1438332076" sldId="2147481973"/>
            <ac:cxnSpMk id="232" creationId="{5D64D16A-B7C1-D887-14A8-EACBDBC6523D}"/>
          </ac:cxnSpMkLst>
        </pc:cxnChg>
      </pc:sldChg>
      <pc:sldChg chg="modSp mod delCm">
        <pc:chgData name="Valentina Losada" userId="12c76205-c9be-43ad-bc33-b218726c6d59" providerId="ADAL" clId="{BDF9A786-CD08-47DC-96EF-2B7A746FE381}" dt="2024-03-18T21:15:37.520" v="1772"/>
        <pc:sldMkLst>
          <pc:docMk/>
          <pc:sldMk cId="102006245" sldId="2147481974"/>
        </pc:sldMkLst>
        <pc:spChg chg="mod">
          <ac:chgData name="Valentina Losada" userId="12c76205-c9be-43ad-bc33-b218726c6d59" providerId="ADAL" clId="{BDF9A786-CD08-47DC-96EF-2B7A746FE381}" dt="2024-03-18T21:15:37.520" v="1772"/>
          <ac:spMkLst>
            <pc:docMk/>
            <pc:sldMk cId="102006245" sldId="2147481974"/>
            <ac:spMk id="4" creationId="{BA84E4CF-863E-2BE7-5847-13FBFF6EB897}"/>
          </ac:spMkLst>
        </pc:spChg>
        <pc:spChg chg="mod">
          <ac:chgData name="Valentina Losada" userId="12c76205-c9be-43ad-bc33-b218726c6d59" providerId="ADAL" clId="{BDF9A786-CD08-47DC-96EF-2B7A746FE381}" dt="2024-03-18T21:14:04.860" v="1756"/>
          <ac:spMkLst>
            <pc:docMk/>
            <pc:sldMk cId="102006245" sldId="2147481974"/>
            <ac:spMk id="12" creationId="{E2F013EF-20FE-EBC1-60E9-30819644BAC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1:15:19.744" v="1771"/>
              <pc2:cmMkLst xmlns:pc2="http://schemas.microsoft.com/office/powerpoint/2019/9/main/command">
                <pc:docMk/>
                <pc:sldMk cId="102006245" sldId="2147481974"/>
                <pc2:cmMk id="{066089B5-BCC4-4A3E-8835-F630F4CB53BF}"/>
              </pc2:cmMkLst>
            </pc226:cmChg>
          </p:ext>
        </pc:extLst>
      </pc:sldChg>
      <pc:sldChg chg="modSp mod delCm">
        <pc:chgData name="Valentina Losada" userId="12c76205-c9be-43ad-bc33-b218726c6d59" providerId="ADAL" clId="{BDF9A786-CD08-47DC-96EF-2B7A746FE381}" dt="2024-03-18T21:16:47.141" v="1780"/>
        <pc:sldMkLst>
          <pc:docMk/>
          <pc:sldMk cId="3724811013" sldId="2147481975"/>
        </pc:sldMkLst>
        <pc:spChg chg="mod">
          <ac:chgData name="Valentina Losada" userId="12c76205-c9be-43ad-bc33-b218726c6d59" providerId="ADAL" clId="{BDF9A786-CD08-47DC-96EF-2B7A746FE381}" dt="2024-03-18T21:15:44.784" v="1776"/>
          <ac:spMkLst>
            <pc:docMk/>
            <pc:sldMk cId="3724811013" sldId="2147481975"/>
            <ac:spMk id="8" creationId="{8A22082C-3279-49BC-C162-588A27AD273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1:16:47.141" v="1780"/>
              <pc2:cmMkLst xmlns:pc2="http://schemas.microsoft.com/office/powerpoint/2019/9/main/command">
                <pc:docMk/>
                <pc:sldMk cId="3724811013" sldId="2147481975"/>
                <pc2:cmMk id="{54326DF7-0CF9-4596-BBAD-FA032EEE44E6}"/>
              </pc2:cmMkLst>
            </pc226:cmChg>
          </p:ext>
        </pc:extLst>
      </pc:sldChg>
      <pc:sldChg chg="addSp delSp modSp mod delCm">
        <pc:chgData name="Valentina Losada" userId="12c76205-c9be-43ad-bc33-b218726c6d59" providerId="ADAL" clId="{BDF9A786-CD08-47DC-96EF-2B7A746FE381}" dt="2024-03-18T18:41:22.543" v="963" actId="478"/>
        <pc:sldMkLst>
          <pc:docMk/>
          <pc:sldMk cId="2068309478" sldId="2147481977"/>
        </pc:sldMkLst>
        <pc:spChg chg="add mod">
          <ac:chgData name="Valentina Losada" userId="12c76205-c9be-43ad-bc33-b218726c6d59" providerId="ADAL" clId="{BDF9A786-CD08-47DC-96EF-2B7A746FE381}" dt="2024-03-18T18:40:14.637" v="899" actId="20577"/>
          <ac:spMkLst>
            <pc:docMk/>
            <pc:sldMk cId="2068309478" sldId="2147481977"/>
            <ac:spMk id="2" creationId="{741C2BDC-62DB-5B4A-E704-01628057EFAD}"/>
          </ac:spMkLst>
        </pc:spChg>
        <pc:spChg chg="add mod">
          <ac:chgData name="Valentina Losada" userId="12c76205-c9be-43ad-bc33-b218726c6d59" providerId="ADAL" clId="{BDF9A786-CD08-47DC-96EF-2B7A746FE381}" dt="2024-03-18T18:40:44.069" v="921" actId="20577"/>
          <ac:spMkLst>
            <pc:docMk/>
            <pc:sldMk cId="2068309478" sldId="2147481977"/>
            <ac:spMk id="3" creationId="{03C8807C-8D3B-19E1-A942-AD94691A6E50}"/>
          </ac:spMkLst>
        </pc:spChg>
        <pc:spChg chg="add mod">
          <ac:chgData name="Valentina Losada" userId="12c76205-c9be-43ad-bc33-b218726c6d59" providerId="ADAL" clId="{BDF9A786-CD08-47DC-96EF-2B7A746FE381}" dt="2024-03-18T18:41:13.098" v="961" actId="20577"/>
          <ac:spMkLst>
            <pc:docMk/>
            <pc:sldMk cId="2068309478" sldId="2147481977"/>
            <ac:spMk id="10" creationId="{D7CD7B43-03AC-7D5E-A6EF-BB0B34117578}"/>
          </ac:spMkLst>
        </pc:spChg>
        <pc:spChg chg="del">
          <ac:chgData name="Valentina Losada" userId="12c76205-c9be-43ad-bc33-b218726c6d59" providerId="ADAL" clId="{BDF9A786-CD08-47DC-96EF-2B7A746FE381}" dt="2024-03-18T18:40:55.945" v="949" actId="478"/>
          <ac:spMkLst>
            <pc:docMk/>
            <pc:sldMk cId="2068309478" sldId="2147481977"/>
            <ac:spMk id="21" creationId="{E4878BBF-B17C-27A5-9F25-09D31543032B}"/>
          </ac:spMkLst>
        </pc:spChg>
        <pc:spChg chg="mod">
          <ac:chgData name="Valentina Losada" userId="12c76205-c9be-43ad-bc33-b218726c6d59" providerId="ADAL" clId="{BDF9A786-CD08-47DC-96EF-2B7A746FE381}" dt="2024-03-18T18:39:40.769" v="869" actId="1036"/>
          <ac:spMkLst>
            <pc:docMk/>
            <pc:sldMk cId="2068309478" sldId="2147481977"/>
            <ac:spMk id="30" creationId="{BB46DE07-37A8-FD58-5F56-AC050E40B2ED}"/>
          </ac:spMkLst>
        </pc:spChg>
        <pc:spChg chg="mod">
          <ac:chgData name="Valentina Losada" userId="12c76205-c9be-43ad-bc33-b218726c6d59" providerId="ADAL" clId="{BDF9A786-CD08-47DC-96EF-2B7A746FE381}" dt="2024-03-18T18:39:56.063" v="881" actId="20577"/>
          <ac:spMkLst>
            <pc:docMk/>
            <pc:sldMk cId="2068309478" sldId="2147481977"/>
            <ac:spMk id="32" creationId="{B7DB93CE-FE85-73C1-4462-42152E3C8A14}"/>
          </ac:spMkLst>
        </pc:spChg>
        <pc:spChg chg="del">
          <ac:chgData name="Valentina Losada" userId="12c76205-c9be-43ad-bc33-b218726c6d59" providerId="ADAL" clId="{BDF9A786-CD08-47DC-96EF-2B7A746FE381}" dt="2024-03-18T18:40:28.403" v="915" actId="478"/>
          <ac:spMkLst>
            <pc:docMk/>
            <pc:sldMk cId="2068309478" sldId="2147481977"/>
            <ac:spMk id="34" creationId="{77054E92-47C8-07C7-7622-FD90F3235A11}"/>
          </ac:spMkLst>
        </pc:spChg>
        <pc:spChg chg="mod">
          <ac:chgData name="Valentina Losada" userId="12c76205-c9be-43ad-bc33-b218726c6d59" providerId="ADAL" clId="{BDF9A786-CD08-47DC-96EF-2B7A746FE381}" dt="2024-03-18T18:40:25.168" v="914" actId="20577"/>
          <ac:spMkLst>
            <pc:docMk/>
            <pc:sldMk cId="2068309478" sldId="2147481977"/>
            <ac:spMk id="36" creationId="{DF4C5381-25A6-DCB4-AC7E-E88D4C851FDC}"/>
          </ac:spMkLst>
        </pc:spChg>
        <pc:spChg chg="mod">
          <ac:chgData name="Valentina Losada" userId="12c76205-c9be-43ad-bc33-b218726c6d59" providerId="ADAL" clId="{BDF9A786-CD08-47DC-96EF-2B7A746FE381}" dt="2024-03-18T18:38:35.265" v="770" actId="20577"/>
          <ac:spMkLst>
            <pc:docMk/>
            <pc:sldMk cId="2068309478" sldId="2147481977"/>
            <ac:spMk id="51" creationId="{E9F62DE6-BB41-4807-A069-EA5570E435B4}"/>
          </ac:spMkLst>
        </pc:spChg>
        <pc:spChg chg="mod">
          <ac:chgData name="Valentina Losada" userId="12c76205-c9be-43ad-bc33-b218726c6d59" providerId="ADAL" clId="{BDF9A786-CD08-47DC-96EF-2B7A746FE381}" dt="2024-03-18T18:40:53.427" v="948" actId="20577"/>
          <ac:spMkLst>
            <pc:docMk/>
            <pc:sldMk cId="2068309478" sldId="2147481977"/>
            <ac:spMk id="57" creationId="{564D6680-6E9C-B591-C22F-B4DAC4EEE171}"/>
          </ac:spMkLst>
        </pc:spChg>
        <pc:spChg chg="del">
          <ac:chgData name="Valentina Losada" userId="12c76205-c9be-43ad-bc33-b218726c6d59" providerId="ADAL" clId="{BDF9A786-CD08-47DC-96EF-2B7A746FE381}" dt="2024-03-18T18:38:12.796" v="760" actId="478"/>
          <ac:spMkLst>
            <pc:docMk/>
            <pc:sldMk cId="2068309478" sldId="2147481977"/>
            <ac:spMk id="61" creationId="{6B52B64C-812F-B6DB-8CC1-7B1060402C93}"/>
          </ac:spMkLst>
        </pc:spChg>
        <pc:spChg chg="del">
          <ac:chgData name="Valentina Losada" userId="12c76205-c9be-43ad-bc33-b218726c6d59" providerId="ADAL" clId="{BDF9A786-CD08-47DC-96EF-2B7A746FE381}" dt="2024-03-18T18:38:12.796" v="760" actId="478"/>
          <ac:spMkLst>
            <pc:docMk/>
            <pc:sldMk cId="2068309478" sldId="2147481977"/>
            <ac:spMk id="114" creationId="{57CB75FE-62B8-759E-4633-C62F847F0E2F}"/>
          </ac:spMkLst>
        </pc:spChg>
        <pc:spChg chg="del">
          <ac:chgData name="Valentina Losada" userId="12c76205-c9be-43ad-bc33-b218726c6d59" providerId="ADAL" clId="{BDF9A786-CD08-47DC-96EF-2B7A746FE381}" dt="2024-03-18T18:38:12.796" v="760" actId="478"/>
          <ac:spMkLst>
            <pc:docMk/>
            <pc:sldMk cId="2068309478" sldId="2147481977"/>
            <ac:spMk id="129" creationId="{C12A68E0-98C4-7D70-5582-FBFBF03AA76A}"/>
          </ac:spMkLst>
        </pc:spChg>
        <pc:picChg chg="del mod">
          <ac:chgData name="Valentina Losada" userId="12c76205-c9be-43ad-bc33-b218726c6d59" providerId="ADAL" clId="{BDF9A786-CD08-47DC-96EF-2B7A746FE381}" dt="2024-03-18T18:41:22.543" v="963" actId="478"/>
          <ac:picMkLst>
            <pc:docMk/>
            <pc:sldMk cId="2068309478" sldId="2147481977"/>
            <ac:picMk id="4" creationId="{494AD8C2-69DE-3B13-1376-8F56ACF2C4D2}"/>
          </ac:picMkLst>
        </pc:picChg>
        <pc:cxnChg chg="del">
          <ac:chgData name="Valentina Losada" userId="12c76205-c9be-43ad-bc33-b218726c6d59" providerId="ADAL" clId="{BDF9A786-CD08-47DC-96EF-2B7A746FE381}" dt="2024-03-18T18:38:12.796" v="760" actId="478"/>
          <ac:cxnSpMkLst>
            <pc:docMk/>
            <pc:sldMk cId="2068309478" sldId="2147481977"/>
            <ac:cxnSpMk id="90" creationId="{E03282BC-CDBF-FC4F-5D72-2F619F4D2238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41:18.583" v="962"/>
              <pc2:cmMkLst xmlns:pc2="http://schemas.microsoft.com/office/powerpoint/2019/9/main/command">
                <pc:docMk/>
                <pc:sldMk cId="2068309478" sldId="2147481977"/>
                <pc2:cmMk id="{C839CA2A-9DA1-459E-917A-DA0744ED8BE9}"/>
              </pc2:cmMkLst>
            </pc226:cmChg>
          </p:ext>
        </pc:extLst>
      </pc:sldChg>
      <pc:sldChg chg="addSp delSp modSp">
        <pc:chgData name="Valentina Losada" userId="12c76205-c9be-43ad-bc33-b218726c6d59" providerId="ADAL" clId="{BDF9A786-CD08-47DC-96EF-2B7A746FE381}" dt="2024-03-18T20:21:10.434" v="1054" actId="478"/>
        <pc:sldMkLst>
          <pc:docMk/>
          <pc:sldMk cId="3141630232" sldId="2147481979"/>
        </pc:sldMkLst>
        <pc:spChg chg="add mod">
          <ac:chgData name="Valentina Losada" userId="12c76205-c9be-43ad-bc33-b218726c6d59" providerId="ADAL" clId="{BDF9A786-CD08-47DC-96EF-2B7A746FE381}" dt="2024-03-18T20:21:10.434" v="1054" actId="478"/>
          <ac:spMkLst>
            <pc:docMk/>
            <pc:sldMk cId="3141630232" sldId="2147481979"/>
            <ac:spMk id="2" creationId="{3F3F73D2-8892-6B7E-974C-02D0050324C6}"/>
          </ac:spMkLst>
        </pc:spChg>
        <pc:spChg chg="del">
          <ac:chgData name="Valentina Losada" userId="12c76205-c9be-43ad-bc33-b218726c6d59" providerId="ADAL" clId="{BDF9A786-CD08-47DC-96EF-2B7A746FE381}" dt="2024-03-18T20:21:10.434" v="1054" actId="478"/>
          <ac:spMkLst>
            <pc:docMk/>
            <pc:sldMk cId="3141630232" sldId="2147481979"/>
            <ac:spMk id="65" creationId="{E47E7055-EC6F-ED7A-7ADB-3B017D55C075}"/>
          </ac:spMkLst>
        </pc:spChg>
      </pc:sldChg>
      <pc:sldChg chg="addSp delSp modSp">
        <pc:chgData name="Valentina Losada" userId="12c76205-c9be-43ad-bc33-b218726c6d59" providerId="ADAL" clId="{BDF9A786-CD08-47DC-96EF-2B7A746FE381}" dt="2024-03-18T20:21:21.808" v="1055" actId="478"/>
        <pc:sldMkLst>
          <pc:docMk/>
          <pc:sldMk cId="88650764" sldId="2147481981"/>
        </pc:sldMkLst>
        <pc:spChg chg="add mod">
          <ac:chgData name="Valentina Losada" userId="12c76205-c9be-43ad-bc33-b218726c6d59" providerId="ADAL" clId="{BDF9A786-CD08-47DC-96EF-2B7A746FE381}" dt="2024-03-18T20:21:21.808" v="1055" actId="478"/>
          <ac:spMkLst>
            <pc:docMk/>
            <pc:sldMk cId="88650764" sldId="2147481981"/>
            <ac:spMk id="2" creationId="{0B14A33F-7E5A-5E3F-BDD1-24775150A4FD}"/>
          </ac:spMkLst>
        </pc:spChg>
        <pc:spChg chg="del">
          <ac:chgData name="Valentina Losada" userId="12c76205-c9be-43ad-bc33-b218726c6d59" providerId="ADAL" clId="{BDF9A786-CD08-47DC-96EF-2B7A746FE381}" dt="2024-03-18T20:21:21.808" v="1055" actId="478"/>
          <ac:spMkLst>
            <pc:docMk/>
            <pc:sldMk cId="88650764" sldId="2147481981"/>
            <ac:spMk id="65" creationId="{E47E7055-EC6F-ED7A-7ADB-3B017D55C075}"/>
          </ac:spMkLst>
        </pc:spChg>
      </pc:sldChg>
      <pc:sldChg chg="addSp modSp mod delCm">
        <pc:chgData name="Valentina Losada" userId="12c76205-c9be-43ad-bc33-b218726c6d59" providerId="ADAL" clId="{BDF9A786-CD08-47DC-96EF-2B7A746FE381}" dt="2024-03-18T18:43:09.033" v="1008"/>
        <pc:sldMkLst>
          <pc:docMk/>
          <pc:sldMk cId="3097746360" sldId="2147481983"/>
        </pc:sldMkLst>
        <pc:spChg chg="add mod">
          <ac:chgData name="Valentina Losada" userId="12c76205-c9be-43ad-bc33-b218726c6d59" providerId="ADAL" clId="{BDF9A786-CD08-47DC-96EF-2B7A746FE381}" dt="2024-03-18T18:42:47.012" v="1004" actId="114"/>
          <ac:spMkLst>
            <pc:docMk/>
            <pc:sldMk cId="3097746360" sldId="2147481983"/>
            <ac:spMk id="2" creationId="{CEC57B7F-A90A-57B0-561B-D8A78FE456C5}"/>
          </ac:spMkLst>
        </pc:spChg>
        <pc:cxnChg chg="mod">
          <ac:chgData name="Valentina Losada" userId="12c76205-c9be-43ad-bc33-b218726c6d59" providerId="ADAL" clId="{BDF9A786-CD08-47DC-96EF-2B7A746FE381}" dt="2024-03-18T18:43:04.789" v="1007" actId="1076"/>
          <ac:cxnSpMkLst>
            <pc:docMk/>
            <pc:sldMk cId="3097746360" sldId="2147481983"/>
            <ac:cxnSpMk id="88" creationId="{95E7844F-0AEE-4A70-9474-D044DBC8DBBA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43:09.033" v="1008"/>
              <pc2:cmMkLst xmlns:pc2="http://schemas.microsoft.com/office/powerpoint/2019/9/main/command">
                <pc:docMk/>
                <pc:sldMk cId="3097746360" sldId="2147481983"/>
                <pc2:cmMk id="{C00B7689-06F8-4720-91B8-CC7E0AD736CB}"/>
              </pc2:cmMkLst>
            </pc226:cmChg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42:50.593" v="1005"/>
              <pc2:cmMkLst xmlns:pc2="http://schemas.microsoft.com/office/powerpoint/2019/9/main/command">
                <pc:docMk/>
                <pc:sldMk cId="3097746360" sldId="2147481983"/>
                <pc2:cmMk id="{43F889E7-BBD0-4FED-9BC9-5BE858FBA176}"/>
              </pc2:cmMkLst>
            </pc226:cmChg>
          </p:ext>
        </pc:extLst>
      </pc:sldChg>
      <pc:sldChg chg="ord">
        <pc:chgData name="Valentina Losada" userId="12c76205-c9be-43ad-bc33-b218726c6d59" providerId="ADAL" clId="{BDF9A786-CD08-47DC-96EF-2B7A746FE381}" dt="2024-03-18T21:36:28.404" v="2002"/>
        <pc:sldMkLst>
          <pc:docMk/>
          <pc:sldMk cId="1180648795" sldId="2147481987"/>
        </pc:sldMkLst>
      </pc:sldChg>
      <pc:sldChg chg="ord">
        <pc:chgData name="Valentina Losada" userId="12c76205-c9be-43ad-bc33-b218726c6d59" providerId="ADAL" clId="{BDF9A786-CD08-47DC-96EF-2B7A746FE381}" dt="2024-03-18T21:36:40.104" v="2004"/>
        <pc:sldMkLst>
          <pc:docMk/>
          <pc:sldMk cId="3323465483" sldId="2147481989"/>
        </pc:sldMkLst>
      </pc:sldChg>
      <pc:sldChg chg="modSp mod delCm modCm">
        <pc:chgData name="Valentina Losada" userId="12c76205-c9be-43ad-bc33-b218726c6d59" providerId="ADAL" clId="{BDF9A786-CD08-47DC-96EF-2B7A746FE381}" dt="2024-03-18T17:55:45.808" v="126"/>
        <pc:sldMkLst>
          <pc:docMk/>
          <pc:sldMk cId="683050507" sldId="2147481990"/>
        </pc:sldMkLst>
        <pc:spChg chg="mod">
          <ac:chgData name="Valentina Losada" userId="12c76205-c9be-43ad-bc33-b218726c6d59" providerId="ADAL" clId="{BDF9A786-CD08-47DC-96EF-2B7A746FE381}" dt="2024-03-18T17:55:34.381" v="125" actId="20577"/>
          <ac:spMkLst>
            <pc:docMk/>
            <pc:sldMk cId="683050507" sldId="2147481990"/>
            <ac:spMk id="34" creationId="{A92D7EF9-14F7-8B71-FB79-D0F6D53394A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Valentina Losada" userId="12c76205-c9be-43ad-bc33-b218726c6d59" providerId="ADAL" clId="{BDF9A786-CD08-47DC-96EF-2B7A746FE381}" dt="2024-03-18T17:55:45.808" v="126"/>
              <pc2:cmMkLst xmlns:pc2="http://schemas.microsoft.com/office/powerpoint/2019/9/main/command">
                <pc:docMk/>
                <pc:sldMk cId="683050507" sldId="2147481990"/>
                <pc2:cmMk id="{3ACE7094-3480-4F66-AFAC-EF46F5387DB4}"/>
              </pc2:cmMkLst>
            </pc226:cmChg>
          </p:ext>
        </pc:extLst>
      </pc:sldChg>
      <pc:sldChg chg="ord">
        <pc:chgData name="Valentina Losada" userId="12c76205-c9be-43ad-bc33-b218726c6d59" providerId="ADAL" clId="{BDF9A786-CD08-47DC-96EF-2B7A746FE381}" dt="2024-03-18T21:37:00.591" v="2006"/>
        <pc:sldMkLst>
          <pc:docMk/>
          <pc:sldMk cId="760257409" sldId="2147481991"/>
        </pc:sldMkLst>
      </pc:sldChg>
      <pc:sldChg chg="ord">
        <pc:chgData name="Valentina Losada" userId="12c76205-c9be-43ad-bc33-b218726c6d59" providerId="ADAL" clId="{BDF9A786-CD08-47DC-96EF-2B7A746FE381}" dt="2024-03-18T21:37:16.815" v="2008"/>
        <pc:sldMkLst>
          <pc:docMk/>
          <pc:sldMk cId="1245067461" sldId="2147481993"/>
        </pc:sldMkLst>
      </pc:sldChg>
      <pc:sldChg chg="addSp modSp mod delCm">
        <pc:chgData name="Valentina Losada" userId="12c76205-c9be-43ad-bc33-b218726c6d59" providerId="ADAL" clId="{BDF9A786-CD08-47DC-96EF-2B7A746FE381}" dt="2024-03-18T21:37:28.098" v="2012" actId="20577"/>
        <pc:sldMkLst>
          <pc:docMk/>
          <pc:sldMk cId="1515389117" sldId="2147481994"/>
        </pc:sldMkLst>
        <pc:spChg chg="mod">
          <ac:chgData name="Valentina Losada" userId="12c76205-c9be-43ad-bc33-b218726c6d59" providerId="ADAL" clId="{BDF9A786-CD08-47DC-96EF-2B7A746FE381}" dt="2024-03-18T18:20:37.298" v="522" actId="1076"/>
          <ac:spMkLst>
            <pc:docMk/>
            <pc:sldMk cId="1515389117" sldId="2147481994"/>
            <ac:spMk id="3" creationId="{E27699CE-1F4D-3CA1-702F-BDA07A40D9ED}"/>
          </ac:spMkLst>
        </pc:spChg>
        <pc:spChg chg="mod">
          <ac:chgData name="Valentina Losada" userId="12c76205-c9be-43ad-bc33-b218726c6d59" providerId="ADAL" clId="{BDF9A786-CD08-47DC-96EF-2B7A746FE381}" dt="2024-03-18T18:22:26.171" v="581" actId="14100"/>
          <ac:spMkLst>
            <pc:docMk/>
            <pc:sldMk cId="1515389117" sldId="2147481994"/>
            <ac:spMk id="4" creationId="{B792FE48-F2AC-55E3-9288-EC644D60FE31}"/>
          </ac:spMkLst>
        </pc:spChg>
        <pc:spChg chg="add mod">
          <ac:chgData name="Valentina Losada" userId="12c76205-c9be-43ad-bc33-b218726c6d59" providerId="ADAL" clId="{BDF9A786-CD08-47DC-96EF-2B7A746FE381}" dt="2024-03-18T18:23:42.021" v="618" actId="404"/>
          <ac:spMkLst>
            <pc:docMk/>
            <pc:sldMk cId="1515389117" sldId="2147481994"/>
            <ac:spMk id="5" creationId="{67A1698F-A4AD-D463-45BE-5CB9BF3B9076}"/>
          </ac:spMkLst>
        </pc:spChg>
        <pc:spChg chg="mod">
          <ac:chgData name="Valentina Losada" userId="12c76205-c9be-43ad-bc33-b218726c6d59" providerId="ADAL" clId="{BDF9A786-CD08-47DC-96EF-2B7A746FE381}" dt="2024-03-18T18:20:55.459" v="534" actId="14100"/>
          <ac:spMkLst>
            <pc:docMk/>
            <pc:sldMk cId="1515389117" sldId="2147481994"/>
            <ac:spMk id="16" creationId="{5AC15FA8-86DD-0E1A-3D45-4AEAB1916962}"/>
          </ac:spMkLst>
        </pc:spChg>
        <pc:spChg chg="mod">
          <ac:chgData name="Valentina Losada" userId="12c76205-c9be-43ad-bc33-b218726c6d59" providerId="ADAL" clId="{BDF9A786-CD08-47DC-96EF-2B7A746FE381}" dt="2024-03-18T18:20:59.903" v="535" actId="14100"/>
          <ac:spMkLst>
            <pc:docMk/>
            <pc:sldMk cId="1515389117" sldId="2147481994"/>
            <ac:spMk id="20" creationId="{244B940A-2B65-7854-37EC-78C7F5381F9B}"/>
          </ac:spMkLst>
        </pc:spChg>
        <pc:spChg chg="mod">
          <ac:chgData name="Valentina Losada" userId="12c76205-c9be-43ad-bc33-b218726c6d59" providerId="ADAL" clId="{BDF9A786-CD08-47DC-96EF-2B7A746FE381}" dt="2024-03-18T18:22:20.931" v="580" actId="404"/>
          <ac:spMkLst>
            <pc:docMk/>
            <pc:sldMk cId="1515389117" sldId="2147481994"/>
            <ac:spMk id="37" creationId="{4869A67B-1C69-E99D-C59E-1D48A4B245D8}"/>
          </ac:spMkLst>
        </pc:spChg>
        <pc:spChg chg="mod">
          <ac:chgData name="Valentina Losada" userId="12c76205-c9be-43ad-bc33-b218726c6d59" providerId="ADAL" clId="{BDF9A786-CD08-47DC-96EF-2B7A746FE381}" dt="2024-03-18T21:37:28.098" v="2012" actId="20577"/>
          <ac:spMkLst>
            <pc:docMk/>
            <pc:sldMk cId="1515389117" sldId="2147481994"/>
            <ac:spMk id="40" creationId="{1FF65BE5-4CB9-F95C-C9F4-3D8B0B94A910}"/>
          </ac:spMkLst>
        </pc:spChg>
        <pc:spChg chg="mod">
          <ac:chgData name="Valentina Losada" userId="12c76205-c9be-43ad-bc33-b218726c6d59" providerId="ADAL" clId="{BDF9A786-CD08-47DC-96EF-2B7A746FE381}" dt="2024-03-18T18:23:13.071" v="603" actId="14100"/>
          <ac:spMkLst>
            <pc:docMk/>
            <pc:sldMk cId="1515389117" sldId="2147481994"/>
            <ac:spMk id="42" creationId="{1CB47F6B-FA4E-B5C9-33DA-EA76135D8DDB}"/>
          </ac:spMkLst>
        </pc:spChg>
        <pc:spChg chg="mod">
          <ac:chgData name="Valentina Losada" userId="12c76205-c9be-43ad-bc33-b218726c6d59" providerId="ADAL" clId="{BDF9A786-CD08-47DC-96EF-2B7A746FE381}" dt="2024-03-18T18:10:46.088" v="508" actId="139"/>
          <ac:spMkLst>
            <pc:docMk/>
            <pc:sldMk cId="1515389117" sldId="2147481994"/>
            <ac:spMk id="47" creationId="{1D4A11BF-19A8-FBB4-DCD4-B0E3877780E8}"/>
          </ac:spMkLst>
        </pc:spChg>
        <pc:cxnChg chg="mod">
          <ac:chgData name="Valentina Losada" userId="12c76205-c9be-43ad-bc33-b218726c6d59" providerId="ADAL" clId="{BDF9A786-CD08-47DC-96EF-2B7A746FE381}" dt="2024-03-18T18:20:52.203" v="533" actId="1038"/>
          <ac:cxnSpMkLst>
            <pc:docMk/>
            <pc:sldMk cId="1515389117" sldId="2147481994"/>
            <ac:cxnSpMk id="48" creationId="{13F09EDF-DD0E-3239-5FAD-C4D5AA558536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23:48.912" v="619"/>
              <pc2:cmMkLst xmlns:pc2="http://schemas.microsoft.com/office/powerpoint/2019/9/main/command">
                <pc:docMk/>
                <pc:sldMk cId="1515389117" sldId="2147481994"/>
                <pc2:cmMk id="{742A9DA0-AA24-415E-8BD5-CDFFA4A2A1F1}"/>
              </pc2:cmMkLst>
            </pc226:cmChg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8:22:33.112" v="582"/>
              <pc2:cmMkLst xmlns:pc2="http://schemas.microsoft.com/office/powerpoint/2019/9/main/command">
                <pc:docMk/>
                <pc:sldMk cId="1515389117" sldId="2147481994"/>
                <pc2:cmMk id="{EAA9D2D7-C9AE-4186-A708-508CF5984D80}"/>
              </pc2:cmMkLst>
            </pc226:cmChg>
          </p:ext>
        </pc:extLst>
      </pc:sldChg>
      <pc:sldChg chg="ord">
        <pc:chgData name="Valentina Losada" userId="12c76205-c9be-43ad-bc33-b218726c6d59" providerId="ADAL" clId="{BDF9A786-CD08-47DC-96EF-2B7A746FE381}" dt="2024-03-18T21:38:17.903" v="2014"/>
        <pc:sldMkLst>
          <pc:docMk/>
          <pc:sldMk cId="1510111546" sldId="2147481995"/>
        </pc:sldMkLst>
      </pc:sldChg>
      <pc:sldChg chg="ord">
        <pc:chgData name="Valentina Losada" userId="12c76205-c9be-43ad-bc33-b218726c6d59" providerId="ADAL" clId="{BDF9A786-CD08-47DC-96EF-2B7A746FE381}" dt="2024-03-18T21:39:11.525" v="2039"/>
        <pc:sldMkLst>
          <pc:docMk/>
          <pc:sldMk cId="260264100" sldId="2147481999"/>
        </pc:sldMkLst>
      </pc:sldChg>
      <pc:sldChg chg="addSp delSp modSp mod">
        <pc:chgData name="Valentina Losada" userId="12c76205-c9be-43ad-bc33-b218726c6d59" providerId="ADAL" clId="{BDF9A786-CD08-47DC-96EF-2B7A746FE381}" dt="2024-03-18T21:14:56.427" v="1762" actId="14100"/>
        <pc:sldMkLst>
          <pc:docMk/>
          <pc:sldMk cId="3534594139" sldId="2147482000"/>
        </pc:sldMkLst>
        <pc:spChg chg="add mod">
          <ac:chgData name="Valentina Losada" userId="12c76205-c9be-43ad-bc33-b218726c6d59" providerId="ADAL" clId="{BDF9A786-CD08-47DC-96EF-2B7A746FE381}" dt="2024-03-18T21:14:49.854" v="1760" actId="14100"/>
          <ac:spMkLst>
            <pc:docMk/>
            <pc:sldMk cId="3534594139" sldId="2147482000"/>
            <ac:spMk id="2" creationId="{8A5D767D-5278-0CEE-48A9-48C5B119D53E}"/>
          </ac:spMkLst>
        </pc:spChg>
        <pc:spChg chg="add mod">
          <ac:chgData name="Valentina Losada" userId="12c76205-c9be-43ad-bc33-b218726c6d59" providerId="ADAL" clId="{BDF9A786-CD08-47DC-96EF-2B7A746FE381}" dt="2024-03-18T21:14:56.427" v="1762" actId="14100"/>
          <ac:spMkLst>
            <pc:docMk/>
            <pc:sldMk cId="3534594139" sldId="2147482000"/>
            <ac:spMk id="3" creationId="{97246B4A-A3B9-9BD5-1711-17767A0997FA}"/>
          </ac:spMkLst>
        </pc:spChg>
        <pc:spChg chg="mod">
          <ac:chgData name="Valentina Losada" userId="12c76205-c9be-43ad-bc33-b218726c6d59" providerId="ADAL" clId="{BDF9A786-CD08-47DC-96EF-2B7A746FE381}" dt="2024-03-18T20:47:17.201" v="1604"/>
          <ac:spMkLst>
            <pc:docMk/>
            <pc:sldMk cId="3534594139" sldId="2147482000"/>
            <ac:spMk id="4" creationId="{B7F049B9-5B55-2389-63EC-ECEBAE3E4E99}"/>
          </ac:spMkLst>
        </pc:spChg>
        <pc:spChg chg="add mod">
          <ac:chgData name="Valentina Losada" userId="12c76205-c9be-43ad-bc33-b218726c6d59" providerId="ADAL" clId="{BDF9A786-CD08-47DC-96EF-2B7A746FE381}" dt="2024-03-18T21:14:52.718" v="1761" actId="14100"/>
          <ac:spMkLst>
            <pc:docMk/>
            <pc:sldMk cId="3534594139" sldId="2147482000"/>
            <ac:spMk id="5" creationId="{33FE0651-9D28-550E-3303-7D518C3128FD}"/>
          </ac:spMkLst>
        </pc:spChg>
        <pc:spChg chg="mod">
          <ac:chgData name="Valentina Losada" userId="12c76205-c9be-43ad-bc33-b218726c6d59" providerId="ADAL" clId="{BDF9A786-CD08-47DC-96EF-2B7A746FE381}" dt="2024-03-18T20:43:17.412" v="1536" actId="14100"/>
          <ac:spMkLst>
            <pc:docMk/>
            <pc:sldMk cId="3534594139" sldId="2147482000"/>
            <ac:spMk id="8" creationId="{176F8580-999E-550F-862E-0F79A95D09C9}"/>
          </ac:spMkLst>
        </pc:spChg>
        <pc:spChg chg="mod">
          <ac:chgData name="Valentina Losada" userId="12c76205-c9be-43ad-bc33-b218726c6d59" providerId="ADAL" clId="{BDF9A786-CD08-47DC-96EF-2B7A746FE381}" dt="2024-03-18T20:43:27.354" v="1554" actId="14100"/>
          <ac:spMkLst>
            <pc:docMk/>
            <pc:sldMk cId="3534594139" sldId="2147482000"/>
            <ac:spMk id="10" creationId="{49A610ED-7EFB-CBF1-0061-E536A3300E70}"/>
          </ac:spMkLst>
        </pc:spChg>
        <pc:spChg chg="mod">
          <ac:chgData name="Valentina Losada" userId="12c76205-c9be-43ad-bc33-b218726c6d59" providerId="ADAL" clId="{BDF9A786-CD08-47DC-96EF-2B7A746FE381}" dt="2024-03-18T20:43:20.966" v="1537" actId="14100"/>
          <ac:spMkLst>
            <pc:docMk/>
            <pc:sldMk cId="3534594139" sldId="2147482000"/>
            <ac:spMk id="13" creationId="{056A1491-3587-B802-C105-D4417CAF4D7E}"/>
          </ac:spMkLst>
        </pc:spChg>
        <pc:spChg chg="del">
          <ac:chgData name="Valentina Losada" userId="12c76205-c9be-43ad-bc33-b218726c6d59" providerId="ADAL" clId="{BDF9A786-CD08-47DC-96EF-2B7A746FE381}" dt="2024-03-18T21:14:44.635" v="1758" actId="478"/>
          <ac:spMkLst>
            <pc:docMk/>
            <pc:sldMk cId="3534594139" sldId="2147482000"/>
            <ac:spMk id="28" creationId="{5D8832DD-7E81-5C8F-3456-00EB8138172F}"/>
          </ac:spMkLst>
        </pc:spChg>
        <pc:spChg chg="del">
          <ac:chgData name="Valentina Losada" userId="12c76205-c9be-43ad-bc33-b218726c6d59" providerId="ADAL" clId="{BDF9A786-CD08-47DC-96EF-2B7A746FE381}" dt="2024-03-18T21:14:44.635" v="1758" actId="478"/>
          <ac:spMkLst>
            <pc:docMk/>
            <pc:sldMk cId="3534594139" sldId="2147482000"/>
            <ac:spMk id="29" creationId="{44579D8A-3E90-AD65-914C-8218FF5B2CAC}"/>
          </ac:spMkLst>
        </pc:spChg>
        <pc:spChg chg="del">
          <ac:chgData name="Valentina Losada" userId="12c76205-c9be-43ad-bc33-b218726c6d59" providerId="ADAL" clId="{BDF9A786-CD08-47DC-96EF-2B7A746FE381}" dt="2024-03-18T21:14:44.635" v="1758" actId="478"/>
          <ac:spMkLst>
            <pc:docMk/>
            <pc:sldMk cId="3534594139" sldId="2147482000"/>
            <ac:spMk id="30" creationId="{8A44AFC4-D4F8-810A-924A-82F092162320}"/>
          </ac:spMkLst>
        </pc:spChg>
        <pc:cxnChg chg="mod">
          <ac:chgData name="Valentina Losada" userId="12c76205-c9be-43ad-bc33-b218726c6d59" providerId="ADAL" clId="{BDF9A786-CD08-47DC-96EF-2B7A746FE381}" dt="2024-03-18T20:43:23.915" v="1553" actId="1038"/>
          <ac:cxnSpMkLst>
            <pc:docMk/>
            <pc:sldMk cId="3534594139" sldId="2147482000"/>
            <ac:cxnSpMk id="38" creationId="{5D948AF1-3FE5-5B42-6FF9-4545C2E3BB99}"/>
          </ac:cxnSpMkLst>
        </pc:cxnChg>
      </pc:sldChg>
      <pc:sldChg chg="ord">
        <pc:chgData name="Valentina Losada" userId="12c76205-c9be-43ad-bc33-b218726c6d59" providerId="ADAL" clId="{BDF9A786-CD08-47DC-96EF-2B7A746FE381}" dt="2024-03-18T21:39:21.169" v="2041"/>
        <pc:sldMkLst>
          <pc:docMk/>
          <pc:sldMk cId="329344" sldId="2147482001"/>
        </pc:sldMkLst>
      </pc:sldChg>
      <pc:sldChg chg="modSp mod">
        <pc:chgData name="Valentina Losada" userId="12c76205-c9be-43ad-bc33-b218726c6d59" providerId="ADAL" clId="{BDF9A786-CD08-47DC-96EF-2B7A746FE381}" dt="2024-03-18T21:15:54.620" v="1779"/>
        <pc:sldMkLst>
          <pc:docMk/>
          <pc:sldMk cId="1544683221" sldId="2147482002"/>
        </pc:sldMkLst>
        <pc:spChg chg="mod">
          <ac:chgData name="Valentina Losada" userId="12c76205-c9be-43ad-bc33-b218726c6d59" providerId="ADAL" clId="{BDF9A786-CD08-47DC-96EF-2B7A746FE381}" dt="2024-03-18T21:15:54.620" v="1779"/>
          <ac:spMkLst>
            <pc:docMk/>
            <pc:sldMk cId="1544683221" sldId="2147482002"/>
            <ac:spMk id="20" creationId="{EE331237-3DCE-C36F-2A1F-18D334E27055}"/>
          </ac:spMkLst>
        </pc:spChg>
        <pc:spChg chg="mod">
          <ac:chgData name="Valentina Losada" userId="12c76205-c9be-43ad-bc33-b218726c6d59" providerId="ADAL" clId="{BDF9A786-CD08-47DC-96EF-2B7A746FE381}" dt="2024-03-18T21:14:27.259" v="1757"/>
          <ac:spMkLst>
            <pc:docMk/>
            <pc:sldMk cId="1544683221" sldId="2147482002"/>
            <ac:spMk id="25" creationId="{2E8D0A0B-9D5D-396E-8505-FDD81E7C0437}"/>
          </ac:spMkLst>
        </pc:spChg>
      </pc:sldChg>
      <pc:sldChg chg="addSp delSp modSp">
        <pc:chgData name="Valentina Losada" userId="12c76205-c9be-43ad-bc33-b218726c6d59" providerId="ADAL" clId="{BDF9A786-CD08-47DC-96EF-2B7A746FE381}" dt="2024-03-18T21:39:46.705" v="2042" actId="478"/>
        <pc:sldMkLst>
          <pc:docMk/>
          <pc:sldMk cId="1573201983" sldId="2147482003"/>
        </pc:sldMkLst>
        <pc:spChg chg="del">
          <ac:chgData name="Valentina Losada" userId="12c76205-c9be-43ad-bc33-b218726c6d59" providerId="ADAL" clId="{BDF9A786-CD08-47DC-96EF-2B7A746FE381}" dt="2024-03-18T21:39:46.705" v="2042" actId="478"/>
          <ac:spMkLst>
            <pc:docMk/>
            <pc:sldMk cId="1573201983" sldId="2147482003"/>
            <ac:spMk id="2" creationId="{8BDD57D1-5CA4-433D-8F2D-130B2956D26F}"/>
          </ac:spMkLst>
        </pc:spChg>
        <pc:spChg chg="add mod">
          <ac:chgData name="Valentina Losada" userId="12c76205-c9be-43ad-bc33-b218726c6d59" providerId="ADAL" clId="{BDF9A786-CD08-47DC-96EF-2B7A746FE381}" dt="2024-03-18T21:39:46.705" v="2042" actId="478"/>
          <ac:spMkLst>
            <pc:docMk/>
            <pc:sldMk cId="1573201983" sldId="2147482003"/>
            <ac:spMk id="3" creationId="{6176DC45-7128-00ED-5EBB-05261BAC2F20}"/>
          </ac:spMkLst>
        </pc:spChg>
      </pc:sldChg>
      <pc:sldChg chg="ord">
        <pc:chgData name="Valentina Losada" userId="12c76205-c9be-43ad-bc33-b218726c6d59" providerId="ADAL" clId="{BDF9A786-CD08-47DC-96EF-2B7A746FE381}" dt="2024-03-18T21:40:04.297" v="2044"/>
        <pc:sldMkLst>
          <pc:docMk/>
          <pc:sldMk cId="3571758081" sldId="2147482004"/>
        </pc:sldMkLst>
      </pc:sldChg>
      <pc:sldChg chg="addSp delSp modSp mod">
        <pc:chgData name="Valentina Losada" userId="12c76205-c9be-43ad-bc33-b218726c6d59" providerId="ADAL" clId="{BDF9A786-CD08-47DC-96EF-2B7A746FE381}" dt="2024-03-18T20:25:38.890" v="1180" actId="20577"/>
        <pc:sldMkLst>
          <pc:docMk/>
          <pc:sldMk cId="3537900216" sldId="2147482005"/>
        </pc:sldMkLst>
        <pc:spChg chg="add mod">
          <ac:chgData name="Valentina Losada" userId="12c76205-c9be-43ad-bc33-b218726c6d59" providerId="ADAL" clId="{BDF9A786-CD08-47DC-96EF-2B7A746FE381}" dt="2024-03-18T20:21:00.848" v="1053" actId="478"/>
          <ac:spMkLst>
            <pc:docMk/>
            <pc:sldMk cId="3537900216" sldId="2147482005"/>
            <ac:spMk id="3" creationId="{F1341DA5-837E-149C-968D-A143A5D6D2FF}"/>
          </ac:spMkLst>
        </pc:spChg>
        <pc:spChg chg="del">
          <ac:chgData name="Valentina Losada" userId="12c76205-c9be-43ad-bc33-b218726c6d59" providerId="ADAL" clId="{BDF9A786-CD08-47DC-96EF-2B7A746FE381}" dt="2024-03-18T20:21:00.848" v="1053" actId="478"/>
          <ac:spMkLst>
            <pc:docMk/>
            <pc:sldMk cId="3537900216" sldId="2147482005"/>
            <ac:spMk id="14" creationId="{3CF7E6E3-74D8-5911-8821-25E2E0F97E62}"/>
          </ac:spMkLst>
        </pc:spChg>
        <pc:spChg chg="mod">
          <ac:chgData name="Valentina Losada" userId="12c76205-c9be-43ad-bc33-b218726c6d59" providerId="ADAL" clId="{BDF9A786-CD08-47DC-96EF-2B7A746FE381}" dt="2024-03-18T20:25:38.890" v="1180" actId="20577"/>
          <ac:spMkLst>
            <pc:docMk/>
            <pc:sldMk cId="3537900216" sldId="2147482005"/>
            <ac:spMk id="42" creationId="{909D2A17-6F75-FF92-420F-99015F8DF2E1}"/>
          </ac:spMkLst>
        </pc:spChg>
      </pc:sldChg>
      <pc:sldChg chg="ord">
        <pc:chgData name="Valentina Losada" userId="12c76205-c9be-43ad-bc33-b218726c6d59" providerId="ADAL" clId="{BDF9A786-CD08-47DC-96EF-2B7A746FE381}" dt="2024-03-18T21:40:21.625" v="2046"/>
        <pc:sldMkLst>
          <pc:docMk/>
          <pc:sldMk cId="36218956" sldId="2147482006"/>
        </pc:sldMkLst>
      </pc:sldChg>
      <pc:sldChg chg="addSp delSp modSp mod">
        <pc:chgData name="Valentina Losada" userId="12c76205-c9be-43ad-bc33-b218726c6d59" providerId="ADAL" clId="{BDF9A786-CD08-47DC-96EF-2B7A746FE381}" dt="2024-03-18T20:25:49.727" v="1181"/>
        <pc:sldMkLst>
          <pc:docMk/>
          <pc:sldMk cId="2528968086" sldId="2147482007"/>
        </pc:sldMkLst>
        <pc:spChg chg="add mod">
          <ac:chgData name="Valentina Losada" userId="12c76205-c9be-43ad-bc33-b218726c6d59" providerId="ADAL" clId="{BDF9A786-CD08-47DC-96EF-2B7A746FE381}" dt="2024-03-18T20:21:25.097" v="1056" actId="478"/>
          <ac:spMkLst>
            <pc:docMk/>
            <pc:sldMk cId="2528968086" sldId="2147482007"/>
            <ac:spMk id="3" creationId="{2E1A1B34-914E-382D-CA70-E278D8B695AD}"/>
          </ac:spMkLst>
        </pc:spChg>
        <pc:spChg chg="del">
          <ac:chgData name="Valentina Losada" userId="12c76205-c9be-43ad-bc33-b218726c6d59" providerId="ADAL" clId="{BDF9A786-CD08-47DC-96EF-2B7A746FE381}" dt="2024-03-18T20:21:25.097" v="1056" actId="478"/>
          <ac:spMkLst>
            <pc:docMk/>
            <pc:sldMk cId="2528968086" sldId="2147482007"/>
            <ac:spMk id="14" creationId="{3CF7E6E3-74D8-5911-8821-25E2E0F97E62}"/>
          </ac:spMkLst>
        </pc:spChg>
        <pc:spChg chg="mod">
          <ac:chgData name="Valentina Losada" userId="12c76205-c9be-43ad-bc33-b218726c6d59" providerId="ADAL" clId="{BDF9A786-CD08-47DC-96EF-2B7A746FE381}" dt="2024-03-18T20:25:49.727" v="1181"/>
          <ac:spMkLst>
            <pc:docMk/>
            <pc:sldMk cId="2528968086" sldId="2147482007"/>
            <ac:spMk id="39" creationId="{2562295F-9502-4103-6718-AE37BC636612}"/>
          </ac:spMkLst>
        </pc:spChg>
      </pc:sldChg>
      <pc:sldChg chg="ord">
        <pc:chgData name="Valentina Losada" userId="12c76205-c9be-43ad-bc33-b218726c6d59" providerId="ADAL" clId="{BDF9A786-CD08-47DC-96EF-2B7A746FE381}" dt="2024-03-18T21:40:31.466" v="2048"/>
        <pc:sldMkLst>
          <pc:docMk/>
          <pc:sldMk cId="63008249" sldId="2147482008"/>
        </pc:sldMkLst>
      </pc:sldChg>
      <pc:sldChg chg="delCm">
        <pc:chgData name="Valentina Losada" userId="12c76205-c9be-43ad-bc33-b218726c6d59" providerId="ADAL" clId="{BDF9A786-CD08-47DC-96EF-2B7A746FE381}" dt="2024-03-18T17:56:03.079" v="127"/>
        <pc:sldMkLst>
          <pc:docMk/>
          <pc:sldMk cId="727379196" sldId="214748201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17:56:03.079" v="127"/>
              <pc2:cmMkLst xmlns:pc2="http://schemas.microsoft.com/office/powerpoint/2019/9/main/command">
                <pc:docMk/>
                <pc:sldMk cId="727379196" sldId="2147482013"/>
                <pc2:cmMk id="{EF21ADCE-C1EE-49BA-8C25-049870FFA0C1}"/>
              </pc2:cmMkLst>
            </pc226:cmChg>
          </p:ext>
        </pc:extLst>
      </pc:sldChg>
      <pc:sldChg chg="modSp mod delCm">
        <pc:chgData name="Valentina Losada" userId="12c76205-c9be-43ad-bc33-b218726c6d59" providerId="ADAL" clId="{BDF9A786-CD08-47DC-96EF-2B7A746FE381}" dt="2024-03-18T21:23:56.745" v="1782" actId="20577"/>
        <pc:sldMkLst>
          <pc:docMk/>
          <pc:sldMk cId="3308476308" sldId="2147482018"/>
        </pc:sldMkLst>
        <pc:spChg chg="mod">
          <ac:chgData name="Valentina Losada" userId="12c76205-c9be-43ad-bc33-b218726c6d59" providerId="ADAL" clId="{BDF9A786-CD08-47DC-96EF-2B7A746FE381}" dt="2024-03-18T18:43:50.820" v="1030" actId="20577"/>
          <ac:spMkLst>
            <pc:docMk/>
            <pc:sldMk cId="3308476308" sldId="2147482018"/>
            <ac:spMk id="14" creationId="{D287219E-1F27-7105-C4B0-1FADA4EB69CC}"/>
          </ac:spMkLst>
        </pc:spChg>
        <pc:spChg chg="mod">
          <ac:chgData name="Valentina Losada" userId="12c76205-c9be-43ad-bc33-b218726c6d59" providerId="ADAL" clId="{BDF9A786-CD08-47DC-96EF-2B7A746FE381}" dt="2024-03-18T21:23:56.745" v="1782" actId="20577"/>
          <ac:spMkLst>
            <pc:docMk/>
            <pc:sldMk cId="3308476308" sldId="2147482018"/>
            <ac:spMk id="16" creationId="{E7E48DE2-497F-2E71-400D-947030854968}"/>
          </ac:spMkLst>
        </pc:spChg>
        <pc:spChg chg="mod">
          <ac:chgData name="Valentina Losada" userId="12c76205-c9be-43ad-bc33-b218726c6d59" providerId="ADAL" clId="{BDF9A786-CD08-47DC-96EF-2B7A746FE381}" dt="2024-03-18T20:28:04.706" v="1189" actId="20577"/>
          <ac:spMkLst>
            <pc:docMk/>
            <pc:sldMk cId="3308476308" sldId="2147482018"/>
            <ac:spMk id="17" creationId="{E93430B4-8AE4-54B3-1DB6-5C8CABDC7CF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0:30:32.355" v="1196"/>
              <pc2:cmMkLst xmlns:pc2="http://schemas.microsoft.com/office/powerpoint/2019/9/main/command">
                <pc:docMk/>
                <pc:sldMk cId="3308476308" sldId="2147482018"/>
                <pc2:cmMk id="{0F7FED6C-8950-42C8-B74C-A229702B48BB}"/>
              </pc2:cmMkLst>
            </pc226:cmChg>
          </p:ext>
        </pc:extLst>
      </pc:sldChg>
      <pc:sldChg chg="modSp mod delCm">
        <pc:chgData name="Valentina Losada" userId="12c76205-c9be-43ad-bc33-b218726c6d59" providerId="ADAL" clId="{BDF9A786-CD08-47DC-96EF-2B7A746FE381}" dt="2024-03-18T21:23:47.446" v="1781"/>
        <pc:sldMkLst>
          <pc:docMk/>
          <pc:sldMk cId="2447205899" sldId="2147482019"/>
        </pc:sldMkLst>
        <pc:spChg chg="mod">
          <ac:chgData name="Valentina Losada" userId="12c76205-c9be-43ad-bc33-b218726c6d59" providerId="ADAL" clId="{BDF9A786-CD08-47DC-96EF-2B7A746FE381}" dt="2024-03-18T18:33:37.008" v="758" actId="20577"/>
          <ac:spMkLst>
            <pc:docMk/>
            <pc:sldMk cId="2447205899" sldId="2147482019"/>
            <ac:spMk id="12" creationId="{035B6FB5-00DD-F414-709B-759CA3DA6816}"/>
          </ac:spMkLst>
        </pc:spChg>
        <pc:spChg chg="mod">
          <ac:chgData name="Valentina Losada" userId="12c76205-c9be-43ad-bc33-b218726c6d59" providerId="ADAL" clId="{BDF9A786-CD08-47DC-96EF-2B7A746FE381}" dt="2024-03-18T18:33:14.027" v="742" actId="20577"/>
          <ac:spMkLst>
            <pc:docMk/>
            <pc:sldMk cId="2447205899" sldId="2147482019"/>
            <ac:spMk id="16" creationId="{E7E48DE2-497F-2E71-400D-947030854968}"/>
          </ac:spMkLst>
        </pc:spChg>
        <pc:spChg chg="mod">
          <ac:chgData name="Valentina Losada" userId="12c76205-c9be-43ad-bc33-b218726c6d59" providerId="ADAL" clId="{BDF9A786-CD08-47DC-96EF-2B7A746FE381}" dt="2024-03-18T18:33:11.775" v="741" actId="6549"/>
          <ac:spMkLst>
            <pc:docMk/>
            <pc:sldMk cId="2447205899" sldId="2147482019"/>
            <ac:spMk id="17" creationId="{E93430B4-8AE4-54B3-1DB6-5C8CABDC7CF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1:23:47.446" v="1781"/>
              <pc2:cmMkLst xmlns:pc2="http://schemas.microsoft.com/office/powerpoint/2019/9/main/command">
                <pc:docMk/>
                <pc:sldMk cId="2447205899" sldId="2147482019"/>
                <pc2:cmMk id="{0BD469D9-973C-4DF4-B317-4986A886FD7B}"/>
              </pc2:cmMkLst>
            </pc226:cmChg>
          </p:ext>
        </pc:extLst>
      </pc:sldChg>
      <pc:sldChg chg="addSp delSp modSp add mod delCm">
        <pc:chgData name="Valentina Losada" userId="12c76205-c9be-43ad-bc33-b218726c6d59" providerId="ADAL" clId="{BDF9A786-CD08-47DC-96EF-2B7A746FE381}" dt="2024-03-18T21:35:51.845" v="1999" actId="6549"/>
        <pc:sldMkLst>
          <pc:docMk/>
          <pc:sldMk cId="4014135789" sldId="2147482027"/>
        </pc:sldMkLst>
        <pc:spChg chg="add del mod modVis">
          <ac:chgData name="Valentina Losada" userId="12c76205-c9be-43ad-bc33-b218726c6d59" providerId="ADAL" clId="{BDF9A786-CD08-47DC-96EF-2B7A746FE381}" dt="2024-03-18T21:30:59.862" v="1808"/>
          <ac:spMkLst>
            <pc:docMk/>
            <pc:sldMk cId="4014135789" sldId="2147482027"/>
            <ac:spMk id="2" creationId="{4E2508D7-6087-7076-EF0E-47B0594190DE}"/>
          </ac:spMkLst>
        </pc:spChg>
        <pc:spChg chg="add del mod modVis">
          <ac:chgData name="Valentina Losada" userId="12c76205-c9be-43ad-bc33-b218726c6d59" providerId="ADAL" clId="{BDF9A786-CD08-47DC-96EF-2B7A746FE381}" dt="2024-03-18T21:31:02.925" v="1851"/>
          <ac:spMkLst>
            <pc:docMk/>
            <pc:sldMk cId="4014135789" sldId="2147482027"/>
            <ac:spMk id="3" creationId="{1413BA3E-6B61-E61E-64EF-1896198E19FC}"/>
          </ac:spMkLst>
        </pc:spChg>
        <pc:spChg chg="add del mod modVis">
          <ac:chgData name="Valentina Losada" userId="12c76205-c9be-43ad-bc33-b218726c6d59" providerId="ADAL" clId="{BDF9A786-CD08-47DC-96EF-2B7A746FE381}" dt="2024-03-18T21:31:04.538" v="1885"/>
          <ac:spMkLst>
            <pc:docMk/>
            <pc:sldMk cId="4014135789" sldId="2147482027"/>
            <ac:spMk id="4" creationId="{B790B710-6B29-B30B-D930-EF52FABFDDB4}"/>
          </ac:spMkLst>
        </pc:spChg>
        <pc:spChg chg="mod">
          <ac:chgData name="Valentina Losada" userId="12c76205-c9be-43ad-bc33-b218726c6d59" providerId="ADAL" clId="{BDF9A786-CD08-47DC-96EF-2B7A746FE381}" dt="2024-03-18T21:31:07.500" v="1918"/>
          <ac:spMkLst>
            <pc:docMk/>
            <pc:sldMk cId="4014135789" sldId="2147482027"/>
            <ac:spMk id="5" creationId="{1350216A-E851-6782-416D-8A0DC6BBC7B0}"/>
          </ac:spMkLst>
        </pc:spChg>
        <pc:spChg chg="mod">
          <ac:chgData name="Valentina Losada" userId="12c76205-c9be-43ad-bc33-b218726c6d59" providerId="ADAL" clId="{BDF9A786-CD08-47DC-96EF-2B7A746FE381}" dt="2024-03-18T20:14:25.100" v="1046"/>
          <ac:spMkLst>
            <pc:docMk/>
            <pc:sldMk cId="4014135789" sldId="2147482027"/>
            <ac:spMk id="7" creationId="{6B754CBA-23ED-4757-6CAE-C46D43BCBA70}"/>
          </ac:spMkLst>
        </pc:spChg>
        <pc:spChg chg="mod">
          <ac:chgData name="Valentina Losada" userId="12c76205-c9be-43ad-bc33-b218726c6d59" providerId="ADAL" clId="{BDF9A786-CD08-47DC-96EF-2B7A746FE381}" dt="2024-03-18T21:35:51.845" v="1999" actId="6549"/>
          <ac:spMkLst>
            <pc:docMk/>
            <pc:sldMk cId="4014135789" sldId="2147482027"/>
            <ac:spMk id="8" creationId="{8A22082C-3279-49BC-C162-588A27AD2734}"/>
          </ac:spMkLst>
        </pc:spChg>
        <pc:spChg chg="add del mod modVis">
          <ac:chgData name="Valentina Losada" userId="12c76205-c9be-43ad-bc33-b218726c6d59" providerId="ADAL" clId="{BDF9A786-CD08-47DC-96EF-2B7A746FE381}" dt="2024-03-18T21:31:05.628" v="1913"/>
          <ac:spMkLst>
            <pc:docMk/>
            <pc:sldMk cId="4014135789" sldId="2147482027"/>
            <ac:spMk id="9" creationId="{3ED33709-19EB-4B0A-439D-A982D904D0B4}"/>
          </ac:spMkLst>
        </pc:spChg>
        <pc:spChg chg="add del mod modVis">
          <ac:chgData name="Valentina Losada" userId="12c76205-c9be-43ad-bc33-b218726c6d59" providerId="ADAL" clId="{BDF9A786-CD08-47DC-96EF-2B7A746FE381}" dt="2024-03-18T21:31:07.512" v="1942"/>
          <ac:spMkLst>
            <pc:docMk/>
            <pc:sldMk cId="4014135789" sldId="2147482027"/>
            <ac:spMk id="10" creationId="{6464B254-EBE2-A7EA-DEB2-E687AD50B4EA}"/>
          </ac:spMkLst>
        </pc:spChg>
        <pc:spChg chg="add mod">
          <ac:chgData name="Valentina Losada" userId="12c76205-c9be-43ad-bc33-b218726c6d59" providerId="ADAL" clId="{BDF9A786-CD08-47DC-96EF-2B7A746FE381}" dt="2024-03-18T21:31:09.410" v="1945" actId="478"/>
          <ac:spMkLst>
            <pc:docMk/>
            <pc:sldMk cId="4014135789" sldId="2147482027"/>
            <ac:spMk id="13" creationId="{2C366DF2-5C2B-FD91-8BD5-D33838185EF2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16" creationId="{04DD45B6-8F13-2C61-1621-5338BE6D581D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23" creationId="{A462C37A-2512-79A0-474B-911750466C78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24" creationId="{8C51B156-8BC0-8732-7577-62D35F8D46A7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25" creationId="{56AF15AD-1332-AC13-FC67-AF2BB5906FE2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26" creationId="{DFBBC97C-839A-F92C-3A07-B1900FA5C1FB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27" creationId="{A155F5D4-24A8-EA17-1E44-0D8BCB14102E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30" creationId="{9D9C1FC0-073A-7362-89E7-387B3FA191EF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34" creationId="{2E8362C5-DCC9-D38F-5249-2BEAC0024785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35" creationId="{FF7A2F74-3EDC-D5C8-19F6-4F4CF94276C3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37" creationId="{99F72D5F-64C3-383D-B051-568238231DD3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39" creationId="{83652109-273C-0CEE-569A-9F347DFDC86F}"/>
          </ac:spMkLst>
        </pc:spChg>
        <pc:spChg chg="mod">
          <ac:chgData name="Valentina Losada" userId="12c76205-c9be-43ad-bc33-b218726c6d59" providerId="ADAL" clId="{BDF9A786-CD08-47DC-96EF-2B7A746FE381}" dt="2024-03-18T21:34:44.083" v="1996" actId="20577"/>
          <ac:spMkLst>
            <pc:docMk/>
            <pc:sldMk cId="4014135789" sldId="2147482027"/>
            <ac:spMk id="40" creationId="{4B44EA96-061F-E181-D038-B6FB208164F3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41" creationId="{42FFFA30-F25E-D6F5-DDD7-5F279B812512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44" creationId="{0C8910F7-73B9-40A7-9DB0-2381EE26AB27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45" creationId="{91C4E2E9-F397-0230-1866-8E6E82B35938}"/>
          </ac:spMkLst>
        </pc:spChg>
        <pc:spChg chg="del mod replST">
          <ac:chgData name="Valentina Losada" userId="12c76205-c9be-43ad-bc33-b218726c6d59" providerId="ADAL" clId="{BDF9A786-CD08-47DC-96EF-2B7A746FE381}" dt="2024-03-18T21:31:09.410" v="1945" actId="478"/>
          <ac:spMkLst>
            <pc:docMk/>
            <pc:sldMk cId="4014135789" sldId="2147482027"/>
            <ac:spMk id="46" creationId="{192D5E49-C727-618F-3A66-46084264BDB1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47" creationId="{63657A00-2246-DCB5-1541-372BE61FF031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52" creationId="{CDA35091-4FEC-8386-3E35-FCF96A49699A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54" creationId="{FE08FFE2-1489-A1F1-5935-A505A6E2ED03}"/>
          </ac:spMkLst>
        </pc:spChg>
        <pc:spChg chg="del">
          <ac:chgData name="Valentina Losada" userId="12c76205-c9be-43ad-bc33-b218726c6d59" providerId="ADAL" clId="{BDF9A786-CD08-47DC-96EF-2B7A746FE381}" dt="2024-03-18T20:14:37.181" v="1051" actId="478"/>
          <ac:spMkLst>
            <pc:docMk/>
            <pc:sldMk cId="4014135789" sldId="2147482027"/>
            <ac:spMk id="56" creationId="{40BFE17D-FE63-508C-30F0-FC6856E28478}"/>
          </ac:spMkLst>
        </pc:spChg>
        <pc:spChg chg="del">
          <ac:chgData name="Valentina Losada" userId="12c76205-c9be-43ad-bc33-b218726c6d59" providerId="ADAL" clId="{BDF9A786-CD08-47DC-96EF-2B7A746FE381}" dt="2024-03-18T20:14:40.739" v="1052" actId="478"/>
          <ac:spMkLst>
            <pc:docMk/>
            <pc:sldMk cId="4014135789" sldId="2147482027"/>
            <ac:spMk id="58" creationId="{6985F8B0-13F7-6E87-2C76-DEE783A2857B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60" creationId="{F938E20D-F47D-BD8B-8E69-CD0E97E2DBC7}"/>
          </ac:spMkLst>
        </pc:spChg>
        <pc:spChg chg="del">
          <ac:chgData name="Valentina Losada" userId="12c76205-c9be-43ad-bc33-b218726c6d59" providerId="ADAL" clId="{BDF9A786-CD08-47DC-96EF-2B7A746FE381}" dt="2024-03-18T20:14:33.662" v="1050" actId="478"/>
          <ac:spMkLst>
            <pc:docMk/>
            <pc:sldMk cId="4014135789" sldId="2147482027"/>
            <ac:spMk id="148" creationId="{5CEECA5E-E879-3878-A11D-16AD094AE4FF}"/>
          </ac:spMkLst>
        </pc:spChg>
        <pc:graphicFrameChg chg="mod replST">
          <ac:chgData name="Valentina Losada" userId="12c76205-c9be-43ad-bc33-b218726c6d59" providerId="ADAL" clId="{BDF9A786-CD08-47DC-96EF-2B7A746FE381}" dt="2024-03-18T21:31:07.512" v="1944"/>
          <ac:graphicFrameMkLst>
            <pc:docMk/>
            <pc:sldMk cId="4014135789" sldId="2147482027"/>
            <ac:graphicFrameMk id="6" creationId="{375E70C3-86D5-EC0C-CFBD-F3AECFFA718B}"/>
          </ac:graphicFrameMkLst>
        </pc:graphicFrameChg>
        <pc:cxnChg chg="del">
          <ac:chgData name="Valentina Losada" userId="12c76205-c9be-43ad-bc33-b218726c6d59" providerId="ADAL" clId="{BDF9A786-CD08-47DC-96EF-2B7A746FE381}" dt="2024-03-18T20:14:33.662" v="1050" actId="478"/>
          <ac:cxnSpMkLst>
            <pc:docMk/>
            <pc:sldMk cId="4014135789" sldId="2147482027"/>
            <ac:cxnSpMk id="11" creationId="{8C7C8F31-31B1-2393-D1FF-3A924545E516}"/>
          </ac:cxnSpMkLst>
        </pc:cxnChg>
        <pc:cxnChg chg="del">
          <ac:chgData name="Valentina Losada" userId="12c76205-c9be-43ad-bc33-b218726c6d59" providerId="ADAL" clId="{BDF9A786-CD08-47DC-96EF-2B7A746FE381}" dt="2024-03-18T20:14:37.181" v="1051" actId="478"/>
          <ac:cxnSpMkLst>
            <pc:docMk/>
            <pc:sldMk cId="4014135789" sldId="2147482027"/>
            <ac:cxnSpMk id="12" creationId="{BFE7E06E-FA7A-ABD3-B4A6-41B0910A260C}"/>
          </ac:cxnSpMkLst>
        </pc:cxnChg>
        <pc:cxnChg chg="del">
          <ac:chgData name="Valentina Losada" userId="12c76205-c9be-43ad-bc33-b218726c6d59" providerId="ADAL" clId="{BDF9A786-CD08-47DC-96EF-2B7A746FE381}" dt="2024-03-18T20:14:37.181" v="1051" actId="478"/>
          <ac:cxnSpMkLst>
            <pc:docMk/>
            <pc:sldMk cId="4014135789" sldId="2147482027"/>
            <ac:cxnSpMk id="20" creationId="{5C24694F-04CA-2FA1-9962-956687A8922A}"/>
          </ac:cxnSpMkLst>
        </pc:cxnChg>
        <pc:cxnChg chg="del">
          <ac:chgData name="Valentina Losada" userId="12c76205-c9be-43ad-bc33-b218726c6d59" providerId="ADAL" clId="{BDF9A786-CD08-47DC-96EF-2B7A746FE381}" dt="2024-03-18T20:14:37.181" v="1051" actId="478"/>
          <ac:cxnSpMkLst>
            <pc:docMk/>
            <pc:sldMk cId="4014135789" sldId="2147482027"/>
            <ac:cxnSpMk id="21" creationId="{A7B54015-CDFE-32EC-7877-6857629AFAB2}"/>
          </ac:cxnSpMkLst>
        </pc:cxnChg>
        <pc:cxnChg chg="del">
          <ac:chgData name="Valentina Losada" userId="12c76205-c9be-43ad-bc33-b218726c6d59" providerId="ADAL" clId="{BDF9A786-CD08-47DC-96EF-2B7A746FE381}" dt="2024-03-18T20:14:37.181" v="1051" actId="478"/>
          <ac:cxnSpMkLst>
            <pc:docMk/>
            <pc:sldMk cId="4014135789" sldId="2147482027"/>
            <ac:cxnSpMk id="22" creationId="{BC4A57E4-9E30-B995-3860-3E9FFBBA7F3B}"/>
          </ac:cxnSpMkLst>
        </pc:cxnChg>
        <pc:cxnChg chg="del">
          <ac:chgData name="Valentina Losada" userId="12c76205-c9be-43ad-bc33-b218726c6d59" providerId="ADAL" clId="{BDF9A786-CD08-47DC-96EF-2B7A746FE381}" dt="2024-03-18T20:14:37.181" v="1051" actId="478"/>
          <ac:cxnSpMkLst>
            <pc:docMk/>
            <pc:sldMk cId="4014135789" sldId="2147482027"/>
            <ac:cxnSpMk id="33" creationId="{4C335816-E733-4EC4-AE06-45D9E9EF7485}"/>
          </ac:cxnSpMkLst>
        </pc:cxnChg>
        <pc:cxnChg chg="del">
          <ac:chgData name="Valentina Losada" userId="12c76205-c9be-43ad-bc33-b218726c6d59" providerId="ADAL" clId="{BDF9A786-CD08-47DC-96EF-2B7A746FE381}" dt="2024-03-18T20:14:33.662" v="1050" actId="478"/>
          <ac:cxnSpMkLst>
            <pc:docMk/>
            <pc:sldMk cId="4014135789" sldId="2147482027"/>
            <ac:cxnSpMk id="43" creationId="{47CD4BC1-7CBE-3573-9414-616C4DC484E1}"/>
          </ac:cxnSpMkLst>
        </pc:cxnChg>
        <pc:cxnChg chg="del">
          <ac:chgData name="Valentina Losada" userId="12c76205-c9be-43ad-bc33-b218726c6d59" providerId="ADAL" clId="{BDF9A786-CD08-47DC-96EF-2B7A746FE381}" dt="2024-03-18T20:14:37.181" v="1051" actId="478"/>
          <ac:cxnSpMkLst>
            <pc:docMk/>
            <pc:sldMk cId="4014135789" sldId="2147482027"/>
            <ac:cxnSpMk id="50" creationId="{527E60D5-DC79-0002-90A6-FD4340412FE5}"/>
          </ac:cxnSpMkLst>
        </pc:cxnChg>
        <pc:cxnChg chg="del">
          <ac:chgData name="Valentina Losada" userId="12c76205-c9be-43ad-bc33-b218726c6d59" providerId="ADAL" clId="{BDF9A786-CD08-47DC-96EF-2B7A746FE381}" dt="2024-03-18T20:14:33.662" v="1050" actId="478"/>
          <ac:cxnSpMkLst>
            <pc:docMk/>
            <pc:sldMk cId="4014135789" sldId="2147482027"/>
            <ac:cxnSpMk id="62" creationId="{3A7CAE82-9402-CAF7-ACB9-115EC61C581B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Valentina Losada" userId="12c76205-c9be-43ad-bc33-b218726c6d59" providerId="ADAL" clId="{BDF9A786-CD08-47DC-96EF-2B7A746FE381}" dt="2024-03-18T21:34:03.692" v="1974"/>
              <pc2:cmMkLst xmlns:pc2="http://schemas.microsoft.com/office/powerpoint/2019/9/main/command">
                <pc:docMk/>
                <pc:sldMk cId="4014135789" sldId="2147482027"/>
                <pc2:cmMk id="{54B5EC1B-690D-4316-A640-CF41D3611725}"/>
              </pc2:cmMkLst>
            </pc226:cmChg>
          </p:ext>
        </pc:extLst>
      </pc:sldChg>
      <pc:sldChg chg="modSp add mod">
        <pc:chgData name="Valentina Losada" userId="12c76205-c9be-43ad-bc33-b218726c6d59" providerId="ADAL" clId="{BDF9A786-CD08-47DC-96EF-2B7A746FE381}" dt="2024-03-18T20:35:38.065" v="1312"/>
        <pc:sldMkLst>
          <pc:docMk/>
          <pc:sldMk cId="3800892628" sldId="2147482028"/>
        </pc:sldMkLst>
        <pc:spChg chg="mod replST">
          <ac:chgData name="Valentina Losada" userId="12c76205-c9be-43ad-bc33-b218726c6d59" providerId="ADAL" clId="{BDF9A786-CD08-47DC-96EF-2B7A746FE381}" dt="2024-03-18T20:35:38.063" v="1309"/>
          <ac:spMkLst>
            <pc:docMk/>
            <pc:sldMk cId="3800892628" sldId="2147482028"/>
            <ac:spMk id="4" creationId="{1348CFAB-092A-0A8A-91E9-89EC55048826}"/>
          </ac:spMkLst>
        </pc:spChg>
        <pc:spChg chg="mod">
          <ac:chgData name="Valentina Losada" userId="12c76205-c9be-43ad-bc33-b218726c6d59" providerId="ADAL" clId="{BDF9A786-CD08-47DC-96EF-2B7A746FE381}" dt="2024-03-18T20:35:38.064" v="1310"/>
          <ac:spMkLst>
            <pc:docMk/>
            <pc:sldMk cId="3800892628" sldId="2147482028"/>
            <ac:spMk id="5" creationId="{1350216A-E851-6782-416D-8A0DC6BBC7B0}"/>
          </ac:spMkLst>
        </pc:spChg>
        <pc:spChg chg="mod">
          <ac:chgData name="Valentina Losada" userId="12c76205-c9be-43ad-bc33-b218726c6d59" providerId="ADAL" clId="{BDF9A786-CD08-47DC-96EF-2B7A746FE381}" dt="2024-03-18T20:35:38.064" v="1311"/>
          <ac:spMkLst>
            <pc:docMk/>
            <pc:sldMk cId="3800892628" sldId="2147482028"/>
            <ac:spMk id="7" creationId="{6B754CBA-23ED-4757-6CAE-C46D43BCBA70}"/>
          </ac:spMkLst>
        </pc:spChg>
        <pc:spChg chg="mod">
          <ac:chgData name="Valentina Losada" userId="12c76205-c9be-43ad-bc33-b218726c6d59" providerId="ADAL" clId="{BDF9A786-CD08-47DC-96EF-2B7A746FE381}" dt="2024-03-18T20:35:38.065" v="1312"/>
          <ac:spMkLst>
            <pc:docMk/>
            <pc:sldMk cId="3800892628" sldId="2147482028"/>
            <ac:spMk id="8" creationId="{8A22082C-3279-49BC-C162-588A27AD2734}"/>
          </ac:spMkLst>
        </pc:spChg>
        <pc:spChg chg="mod">
          <ac:chgData name="Valentina Losada" userId="12c76205-c9be-43ad-bc33-b218726c6d59" providerId="ADAL" clId="{BDF9A786-CD08-47DC-96EF-2B7A746FE381}" dt="2024-03-18T20:35:38.062" v="1307"/>
          <ac:spMkLst>
            <pc:docMk/>
            <pc:sldMk cId="3800892628" sldId="2147482028"/>
            <ac:spMk id="65" creationId="{E47E7055-EC6F-ED7A-7ADB-3B017D55C075}"/>
          </ac:spMkLst>
        </pc:spChg>
        <pc:graphicFrameChg chg="mod replST">
          <ac:chgData name="Valentina Losada" userId="12c76205-c9be-43ad-bc33-b218726c6d59" providerId="ADAL" clId="{BDF9A786-CD08-47DC-96EF-2B7A746FE381}" dt="2024-03-18T20:35:38.048" v="1306"/>
          <ac:graphicFrameMkLst>
            <pc:docMk/>
            <pc:sldMk cId="3800892628" sldId="2147482028"/>
            <ac:graphicFrameMk id="6" creationId="{375E70C3-86D5-EC0C-CFBD-F3AECFFA718B}"/>
          </ac:graphicFrameMkLst>
        </pc:graphicFrameChg>
      </pc:sldChg>
      <pc:sldChg chg="modSp add mod">
        <pc:chgData name="Valentina Losada" userId="12c76205-c9be-43ad-bc33-b218726c6d59" providerId="ADAL" clId="{BDF9A786-CD08-47DC-96EF-2B7A746FE381}" dt="2024-03-18T21:15:10.549" v="1770"/>
        <pc:sldMkLst>
          <pc:docMk/>
          <pc:sldMk cId="2747387279" sldId="2147482029"/>
        </pc:sldMkLst>
        <pc:spChg chg="mod replST">
          <ac:chgData name="Valentina Losada" userId="12c76205-c9be-43ad-bc33-b218726c6d59" providerId="ADAL" clId="{BDF9A786-CD08-47DC-96EF-2B7A746FE381}" dt="2024-03-18T21:15:10.549" v="1767"/>
          <ac:spMkLst>
            <pc:docMk/>
            <pc:sldMk cId="2747387279" sldId="2147482029"/>
            <ac:spMk id="4" creationId="{1348CFAB-092A-0A8A-91E9-89EC55048826}"/>
          </ac:spMkLst>
        </pc:spChg>
        <pc:spChg chg="mod">
          <ac:chgData name="Valentina Losada" userId="12c76205-c9be-43ad-bc33-b218726c6d59" providerId="ADAL" clId="{BDF9A786-CD08-47DC-96EF-2B7A746FE381}" dt="2024-03-18T21:15:10.549" v="1768"/>
          <ac:spMkLst>
            <pc:docMk/>
            <pc:sldMk cId="2747387279" sldId="2147482029"/>
            <ac:spMk id="5" creationId="{1350216A-E851-6782-416D-8A0DC6BBC7B0}"/>
          </ac:spMkLst>
        </pc:spChg>
        <pc:spChg chg="mod">
          <ac:chgData name="Valentina Losada" userId="12c76205-c9be-43ad-bc33-b218726c6d59" providerId="ADAL" clId="{BDF9A786-CD08-47DC-96EF-2B7A746FE381}" dt="2024-03-18T21:15:10.549" v="1769"/>
          <ac:spMkLst>
            <pc:docMk/>
            <pc:sldMk cId="2747387279" sldId="2147482029"/>
            <ac:spMk id="7" creationId="{6B754CBA-23ED-4757-6CAE-C46D43BCBA70}"/>
          </ac:spMkLst>
        </pc:spChg>
        <pc:spChg chg="mod">
          <ac:chgData name="Valentina Losada" userId="12c76205-c9be-43ad-bc33-b218726c6d59" providerId="ADAL" clId="{BDF9A786-CD08-47DC-96EF-2B7A746FE381}" dt="2024-03-18T21:15:10.549" v="1770"/>
          <ac:spMkLst>
            <pc:docMk/>
            <pc:sldMk cId="2747387279" sldId="2147482029"/>
            <ac:spMk id="8" creationId="{8A22082C-3279-49BC-C162-588A27AD2734}"/>
          </ac:spMkLst>
        </pc:spChg>
        <pc:graphicFrameChg chg="mod replST">
          <ac:chgData name="Valentina Losada" userId="12c76205-c9be-43ad-bc33-b218726c6d59" providerId="ADAL" clId="{BDF9A786-CD08-47DC-96EF-2B7A746FE381}" dt="2024-03-18T21:15:10.549" v="1765"/>
          <ac:graphicFrameMkLst>
            <pc:docMk/>
            <pc:sldMk cId="2747387279" sldId="2147482029"/>
            <ac:graphicFrameMk id="6" creationId="{375E70C3-86D5-EC0C-CFBD-F3AECFFA718B}"/>
          </ac:graphicFrameMkLst>
        </pc:graphicFrameChg>
      </pc:sldChg>
    </pc:docChg>
  </pc:docChgLst>
  <pc:docChgLst>
    <pc:chgData name="Jenalle Huang" userId="2cf21d77-d186-4a5f-a9ba-71fd767305aa" providerId="ADAL" clId="{9E0A30A1-386D-4EA6-AD23-737DAF4954EB}"/>
    <pc:docChg chg="undo custSel addSld delSld modSld">
      <pc:chgData name="Jenalle Huang" userId="2cf21d77-d186-4a5f-a9ba-71fd767305aa" providerId="ADAL" clId="{9E0A30A1-386D-4EA6-AD23-737DAF4954EB}" dt="2024-05-08T17:40:52.694" v="84" actId="47"/>
      <pc:docMkLst>
        <pc:docMk/>
      </pc:docMkLst>
      <pc:sldChg chg="del">
        <pc:chgData name="Jenalle Huang" userId="2cf21d77-d186-4a5f-a9ba-71fd767305aa" providerId="ADAL" clId="{9E0A30A1-386D-4EA6-AD23-737DAF4954EB}" dt="2024-05-08T17:39:56.653" v="28" actId="47"/>
        <pc:sldMkLst>
          <pc:docMk/>
          <pc:sldMk cId="264143607" sldId="2147481589"/>
        </pc:sldMkLst>
      </pc:sldChg>
      <pc:sldChg chg="del">
        <pc:chgData name="Jenalle Huang" userId="2cf21d77-d186-4a5f-a9ba-71fd767305aa" providerId="ADAL" clId="{9E0A30A1-386D-4EA6-AD23-737DAF4954EB}" dt="2024-05-08T17:39:56.829" v="29" actId="47"/>
        <pc:sldMkLst>
          <pc:docMk/>
          <pc:sldMk cId="2119360518" sldId="2147481590"/>
        </pc:sldMkLst>
      </pc:sldChg>
      <pc:sldChg chg="del">
        <pc:chgData name="Jenalle Huang" userId="2cf21d77-d186-4a5f-a9ba-71fd767305aa" providerId="ADAL" clId="{9E0A30A1-386D-4EA6-AD23-737DAF4954EB}" dt="2024-05-08T17:39:57.676" v="32" actId="47"/>
        <pc:sldMkLst>
          <pc:docMk/>
          <pc:sldMk cId="3346972096" sldId="2147481593"/>
        </pc:sldMkLst>
      </pc:sldChg>
      <pc:sldChg chg="del">
        <pc:chgData name="Jenalle Huang" userId="2cf21d77-d186-4a5f-a9ba-71fd767305aa" providerId="ADAL" clId="{9E0A30A1-386D-4EA6-AD23-737DAF4954EB}" dt="2024-05-08T17:39:57.215" v="30" actId="47"/>
        <pc:sldMkLst>
          <pc:docMk/>
          <pc:sldMk cId="2545108981" sldId="2147481607"/>
        </pc:sldMkLst>
      </pc:sldChg>
      <pc:sldChg chg="del">
        <pc:chgData name="Jenalle Huang" userId="2cf21d77-d186-4a5f-a9ba-71fd767305aa" providerId="ADAL" clId="{9E0A30A1-386D-4EA6-AD23-737DAF4954EB}" dt="2024-05-08T17:39:57.390" v="31" actId="47"/>
        <pc:sldMkLst>
          <pc:docMk/>
          <pc:sldMk cId="388164239" sldId="2147481608"/>
        </pc:sldMkLst>
      </pc:sldChg>
      <pc:sldChg chg="del">
        <pc:chgData name="Jenalle Huang" userId="2cf21d77-d186-4a5f-a9ba-71fd767305aa" providerId="ADAL" clId="{9E0A30A1-386D-4EA6-AD23-737DAF4954EB}" dt="2024-05-08T17:39:50.134" v="1" actId="47"/>
        <pc:sldMkLst>
          <pc:docMk/>
          <pc:sldMk cId="2397486903" sldId="2147481649"/>
        </pc:sldMkLst>
      </pc:sldChg>
      <pc:sldChg chg="del">
        <pc:chgData name="Jenalle Huang" userId="2cf21d77-d186-4a5f-a9ba-71fd767305aa" providerId="ADAL" clId="{9E0A30A1-386D-4EA6-AD23-737DAF4954EB}" dt="2024-05-08T17:39:50.562" v="3" actId="47"/>
        <pc:sldMkLst>
          <pc:docMk/>
          <pc:sldMk cId="3785677484" sldId="2147481957"/>
        </pc:sldMkLst>
      </pc:sldChg>
      <pc:sldChg chg="del">
        <pc:chgData name="Jenalle Huang" userId="2cf21d77-d186-4a5f-a9ba-71fd767305aa" providerId="ADAL" clId="{9E0A30A1-386D-4EA6-AD23-737DAF4954EB}" dt="2024-05-08T17:39:50.768" v="4" actId="47"/>
        <pc:sldMkLst>
          <pc:docMk/>
          <pc:sldMk cId="604887844" sldId="2147481958"/>
        </pc:sldMkLst>
      </pc:sldChg>
      <pc:sldChg chg="del">
        <pc:chgData name="Jenalle Huang" userId="2cf21d77-d186-4a5f-a9ba-71fd767305aa" providerId="ADAL" clId="{9E0A30A1-386D-4EA6-AD23-737DAF4954EB}" dt="2024-05-08T17:39:51.527" v="8" actId="47"/>
        <pc:sldMkLst>
          <pc:docMk/>
          <pc:sldMk cId="2237443863" sldId="2147481959"/>
        </pc:sldMkLst>
      </pc:sldChg>
      <pc:sldChg chg="del">
        <pc:chgData name="Jenalle Huang" userId="2cf21d77-d186-4a5f-a9ba-71fd767305aa" providerId="ADAL" clId="{9E0A30A1-386D-4EA6-AD23-737DAF4954EB}" dt="2024-05-08T17:39:51.740" v="9" actId="47"/>
        <pc:sldMkLst>
          <pc:docMk/>
          <pc:sldMk cId="1763709090" sldId="2147481960"/>
        </pc:sldMkLst>
      </pc:sldChg>
      <pc:sldChg chg="del">
        <pc:chgData name="Jenalle Huang" userId="2cf21d77-d186-4a5f-a9ba-71fd767305aa" providerId="ADAL" clId="{9E0A30A1-386D-4EA6-AD23-737DAF4954EB}" dt="2024-05-08T17:39:52.477" v="13" actId="47"/>
        <pc:sldMkLst>
          <pc:docMk/>
          <pc:sldMk cId="1302189603" sldId="2147481961"/>
        </pc:sldMkLst>
      </pc:sldChg>
      <pc:sldChg chg="del">
        <pc:chgData name="Jenalle Huang" userId="2cf21d77-d186-4a5f-a9ba-71fd767305aa" providerId="ADAL" clId="{9E0A30A1-386D-4EA6-AD23-737DAF4954EB}" dt="2024-05-08T17:39:52.619" v="14" actId="47"/>
        <pc:sldMkLst>
          <pc:docMk/>
          <pc:sldMk cId="1028241875" sldId="2147481962"/>
        </pc:sldMkLst>
      </pc:sldChg>
      <pc:sldChg chg="del">
        <pc:chgData name="Jenalle Huang" userId="2cf21d77-d186-4a5f-a9ba-71fd767305aa" providerId="ADAL" clId="{9E0A30A1-386D-4EA6-AD23-737DAF4954EB}" dt="2024-05-08T17:39:53.588" v="18" actId="47"/>
        <pc:sldMkLst>
          <pc:docMk/>
          <pc:sldMk cId="456451797" sldId="2147481963"/>
        </pc:sldMkLst>
      </pc:sldChg>
      <pc:sldChg chg="del">
        <pc:chgData name="Jenalle Huang" userId="2cf21d77-d186-4a5f-a9ba-71fd767305aa" providerId="ADAL" clId="{9E0A30A1-386D-4EA6-AD23-737DAF4954EB}" dt="2024-05-08T17:39:53.776" v="19" actId="47"/>
        <pc:sldMkLst>
          <pc:docMk/>
          <pc:sldMk cId="3479952278" sldId="2147481964"/>
        </pc:sldMkLst>
      </pc:sldChg>
      <pc:sldChg chg="del">
        <pc:chgData name="Jenalle Huang" userId="2cf21d77-d186-4a5f-a9ba-71fd767305aa" providerId="ADAL" clId="{9E0A30A1-386D-4EA6-AD23-737DAF4954EB}" dt="2024-05-08T17:39:55.612" v="23" actId="47"/>
        <pc:sldMkLst>
          <pc:docMk/>
          <pc:sldMk cId="2820581691" sldId="2147481965"/>
        </pc:sldMkLst>
      </pc:sldChg>
      <pc:sldChg chg="del">
        <pc:chgData name="Jenalle Huang" userId="2cf21d77-d186-4a5f-a9ba-71fd767305aa" providerId="ADAL" clId="{9E0A30A1-386D-4EA6-AD23-737DAF4954EB}" dt="2024-05-08T17:39:56.213" v="24" actId="47"/>
        <pc:sldMkLst>
          <pc:docMk/>
          <pc:sldMk cId="671389596" sldId="2147481966"/>
        </pc:sldMkLst>
      </pc:sldChg>
      <pc:sldChg chg="del">
        <pc:chgData name="Jenalle Huang" userId="2cf21d77-d186-4a5f-a9ba-71fd767305aa" providerId="ADAL" clId="{9E0A30A1-386D-4EA6-AD23-737DAF4954EB}" dt="2024-05-08T17:39:58.117" v="34" actId="47"/>
        <pc:sldMkLst>
          <pc:docMk/>
          <pc:sldMk cId="3617085390" sldId="2147481969"/>
        </pc:sldMkLst>
      </pc:sldChg>
      <pc:sldChg chg="del">
        <pc:chgData name="Jenalle Huang" userId="2cf21d77-d186-4a5f-a9ba-71fd767305aa" providerId="ADAL" clId="{9E0A30A1-386D-4EA6-AD23-737DAF4954EB}" dt="2024-05-08T17:39:58.304" v="35" actId="47"/>
        <pc:sldMkLst>
          <pc:docMk/>
          <pc:sldMk cId="1374643006" sldId="2147481970"/>
        </pc:sldMkLst>
      </pc:sldChg>
      <pc:sldChg chg="del">
        <pc:chgData name="Jenalle Huang" userId="2cf21d77-d186-4a5f-a9ba-71fd767305aa" providerId="ADAL" clId="{9E0A30A1-386D-4EA6-AD23-737DAF4954EB}" dt="2024-05-08T17:39:59.051" v="39" actId="47"/>
        <pc:sldMkLst>
          <pc:docMk/>
          <pc:sldMk cId="2968502433" sldId="2147481971"/>
        </pc:sldMkLst>
      </pc:sldChg>
      <pc:sldChg chg="del">
        <pc:chgData name="Jenalle Huang" userId="2cf21d77-d186-4a5f-a9ba-71fd767305aa" providerId="ADAL" clId="{9E0A30A1-386D-4EA6-AD23-737DAF4954EB}" dt="2024-05-08T17:39:59.227" v="40" actId="47"/>
        <pc:sldMkLst>
          <pc:docMk/>
          <pc:sldMk cId="3162163094" sldId="2147481972"/>
        </pc:sldMkLst>
      </pc:sldChg>
      <pc:sldChg chg="del">
        <pc:chgData name="Jenalle Huang" userId="2cf21d77-d186-4a5f-a9ba-71fd767305aa" providerId="ADAL" clId="{9E0A30A1-386D-4EA6-AD23-737DAF4954EB}" dt="2024-05-08T17:39:59.406" v="41" actId="47"/>
        <pc:sldMkLst>
          <pc:docMk/>
          <pc:sldMk cId="1438332076" sldId="2147481973"/>
        </pc:sldMkLst>
      </pc:sldChg>
      <pc:sldChg chg="del">
        <pc:chgData name="Jenalle Huang" userId="2cf21d77-d186-4a5f-a9ba-71fd767305aa" providerId="ADAL" clId="{9E0A30A1-386D-4EA6-AD23-737DAF4954EB}" dt="2024-05-08T17:40:01.663" v="46" actId="47"/>
        <pc:sldMkLst>
          <pc:docMk/>
          <pc:sldMk cId="102006245" sldId="2147481974"/>
        </pc:sldMkLst>
      </pc:sldChg>
      <pc:sldChg chg="del">
        <pc:chgData name="Jenalle Huang" userId="2cf21d77-d186-4a5f-a9ba-71fd767305aa" providerId="ADAL" clId="{9E0A30A1-386D-4EA6-AD23-737DAF4954EB}" dt="2024-05-08T17:40:01.898" v="47" actId="47"/>
        <pc:sldMkLst>
          <pc:docMk/>
          <pc:sldMk cId="3724811013" sldId="2147481975"/>
        </pc:sldMkLst>
      </pc:sldChg>
      <pc:sldChg chg="del">
        <pc:chgData name="Jenalle Huang" userId="2cf21d77-d186-4a5f-a9ba-71fd767305aa" providerId="ADAL" clId="{9E0A30A1-386D-4EA6-AD23-737DAF4954EB}" dt="2024-05-08T17:40:14.117" v="52" actId="47"/>
        <pc:sldMkLst>
          <pc:docMk/>
          <pc:sldMk cId="3983311566" sldId="2147481978"/>
        </pc:sldMkLst>
      </pc:sldChg>
      <pc:sldChg chg="del">
        <pc:chgData name="Jenalle Huang" userId="2cf21d77-d186-4a5f-a9ba-71fd767305aa" providerId="ADAL" clId="{9E0A30A1-386D-4EA6-AD23-737DAF4954EB}" dt="2024-05-08T17:40:14.593" v="53" actId="47"/>
        <pc:sldMkLst>
          <pc:docMk/>
          <pc:sldMk cId="3141630232" sldId="2147481979"/>
        </pc:sldMkLst>
      </pc:sldChg>
      <pc:sldChg chg="del">
        <pc:chgData name="Jenalle Huang" userId="2cf21d77-d186-4a5f-a9ba-71fd767305aa" providerId="ADAL" clId="{9E0A30A1-386D-4EA6-AD23-737DAF4954EB}" dt="2024-05-08T17:40:18.453" v="57" actId="47"/>
        <pc:sldMkLst>
          <pc:docMk/>
          <pc:sldMk cId="3570921248" sldId="2147481980"/>
        </pc:sldMkLst>
      </pc:sldChg>
      <pc:sldChg chg="del">
        <pc:chgData name="Jenalle Huang" userId="2cf21d77-d186-4a5f-a9ba-71fd767305aa" providerId="ADAL" clId="{9E0A30A1-386D-4EA6-AD23-737DAF4954EB}" dt="2024-05-08T17:40:18.913" v="58" actId="47"/>
        <pc:sldMkLst>
          <pc:docMk/>
          <pc:sldMk cId="88650764" sldId="2147481981"/>
        </pc:sldMkLst>
      </pc:sldChg>
      <pc:sldChg chg="del">
        <pc:chgData name="Jenalle Huang" userId="2cf21d77-d186-4a5f-a9ba-71fd767305aa" providerId="ADAL" clId="{9E0A30A1-386D-4EA6-AD23-737DAF4954EB}" dt="2024-05-08T17:40:20.713" v="62" actId="47"/>
        <pc:sldMkLst>
          <pc:docMk/>
          <pc:sldMk cId="2311241997" sldId="2147481982"/>
        </pc:sldMkLst>
      </pc:sldChg>
      <pc:sldChg chg="del">
        <pc:chgData name="Jenalle Huang" userId="2cf21d77-d186-4a5f-a9ba-71fd767305aa" providerId="ADAL" clId="{9E0A30A1-386D-4EA6-AD23-737DAF4954EB}" dt="2024-05-08T17:40:21.198" v="63" actId="47"/>
        <pc:sldMkLst>
          <pc:docMk/>
          <pc:sldMk cId="3097746360" sldId="2147481983"/>
        </pc:sldMkLst>
      </pc:sldChg>
      <pc:sldChg chg="del">
        <pc:chgData name="Jenalle Huang" userId="2cf21d77-d186-4a5f-a9ba-71fd767305aa" providerId="ADAL" clId="{9E0A30A1-386D-4EA6-AD23-737DAF4954EB}" dt="2024-05-08T17:39:51.144" v="6" actId="47"/>
        <pc:sldMkLst>
          <pc:docMk/>
          <pc:sldMk cId="1180648795" sldId="2147481987"/>
        </pc:sldMkLst>
      </pc:sldChg>
      <pc:sldChg chg="del">
        <pc:chgData name="Jenalle Huang" userId="2cf21d77-d186-4a5f-a9ba-71fd767305aa" providerId="ADAL" clId="{9E0A30A1-386D-4EA6-AD23-737DAF4954EB}" dt="2024-05-08T17:39:50.921" v="5" actId="47"/>
        <pc:sldMkLst>
          <pc:docMk/>
          <pc:sldMk cId="1666424438" sldId="2147481988"/>
        </pc:sldMkLst>
      </pc:sldChg>
      <pc:sldChg chg="del">
        <pc:chgData name="Jenalle Huang" userId="2cf21d77-d186-4a5f-a9ba-71fd767305aa" providerId="ADAL" clId="{9E0A30A1-386D-4EA6-AD23-737DAF4954EB}" dt="2024-05-08T17:39:52.042" v="11" actId="47"/>
        <pc:sldMkLst>
          <pc:docMk/>
          <pc:sldMk cId="3323465483" sldId="2147481989"/>
        </pc:sldMkLst>
      </pc:sldChg>
      <pc:sldChg chg="del">
        <pc:chgData name="Jenalle Huang" userId="2cf21d77-d186-4a5f-a9ba-71fd767305aa" providerId="ADAL" clId="{9E0A30A1-386D-4EA6-AD23-737DAF4954EB}" dt="2024-05-08T17:39:51.892" v="10" actId="47"/>
        <pc:sldMkLst>
          <pc:docMk/>
          <pc:sldMk cId="683050507" sldId="2147481990"/>
        </pc:sldMkLst>
      </pc:sldChg>
      <pc:sldChg chg="del">
        <pc:chgData name="Jenalle Huang" userId="2cf21d77-d186-4a5f-a9ba-71fd767305aa" providerId="ADAL" clId="{9E0A30A1-386D-4EA6-AD23-737DAF4954EB}" dt="2024-05-08T17:39:53.039" v="16" actId="47"/>
        <pc:sldMkLst>
          <pc:docMk/>
          <pc:sldMk cId="760257409" sldId="2147481991"/>
        </pc:sldMkLst>
      </pc:sldChg>
      <pc:sldChg chg="del">
        <pc:chgData name="Jenalle Huang" userId="2cf21d77-d186-4a5f-a9ba-71fd767305aa" providerId="ADAL" clId="{9E0A30A1-386D-4EA6-AD23-737DAF4954EB}" dt="2024-05-08T17:39:52.828" v="15" actId="47"/>
        <pc:sldMkLst>
          <pc:docMk/>
          <pc:sldMk cId="459053279" sldId="2147481992"/>
        </pc:sldMkLst>
      </pc:sldChg>
      <pc:sldChg chg="del">
        <pc:chgData name="Jenalle Huang" userId="2cf21d77-d186-4a5f-a9ba-71fd767305aa" providerId="ADAL" clId="{9E0A30A1-386D-4EA6-AD23-737DAF4954EB}" dt="2024-05-08T17:39:54.575" v="21" actId="47"/>
        <pc:sldMkLst>
          <pc:docMk/>
          <pc:sldMk cId="1245067461" sldId="2147481993"/>
        </pc:sldMkLst>
      </pc:sldChg>
      <pc:sldChg chg="del">
        <pc:chgData name="Jenalle Huang" userId="2cf21d77-d186-4a5f-a9ba-71fd767305aa" providerId="ADAL" clId="{9E0A30A1-386D-4EA6-AD23-737DAF4954EB}" dt="2024-05-08T17:39:53.965" v="20" actId="47"/>
        <pc:sldMkLst>
          <pc:docMk/>
          <pc:sldMk cId="1515389117" sldId="2147481994"/>
        </pc:sldMkLst>
      </pc:sldChg>
      <pc:sldChg chg="del">
        <pc:chgData name="Jenalle Huang" userId="2cf21d77-d186-4a5f-a9ba-71fd767305aa" providerId="ADAL" clId="{9E0A30A1-386D-4EA6-AD23-737DAF4954EB}" dt="2024-05-08T17:39:56.494" v="27" actId="47"/>
        <pc:sldMkLst>
          <pc:docMk/>
          <pc:sldMk cId="1510111546" sldId="2147481995"/>
        </pc:sldMkLst>
      </pc:sldChg>
      <pc:sldChg chg="del">
        <pc:chgData name="Jenalle Huang" userId="2cf21d77-d186-4a5f-a9ba-71fd767305aa" providerId="ADAL" clId="{9E0A30A1-386D-4EA6-AD23-737DAF4954EB}" dt="2024-05-08T17:39:56.449" v="26" actId="47"/>
        <pc:sldMkLst>
          <pc:docMk/>
          <pc:sldMk cId="3026669788" sldId="2147481996"/>
        </pc:sldMkLst>
      </pc:sldChg>
      <pc:sldChg chg="del">
        <pc:chgData name="Jenalle Huang" userId="2cf21d77-d186-4a5f-a9ba-71fd767305aa" providerId="ADAL" clId="{9E0A30A1-386D-4EA6-AD23-737DAF4954EB}" dt="2024-05-08T17:39:58.497" v="36" actId="47"/>
        <pc:sldMkLst>
          <pc:docMk/>
          <pc:sldMk cId="1060894515" sldId="2147481998"/>
        </pc:sldMkLst>
      </pc:sldChg>
      <pc:sldChg chg="del">
        <pc:chgData name="Jenalle Huang" userId="2cf21d77-d186-4a5f-a9ba-71fd767305aa" providerId="ADAL" clId="{9E0A30A1-386D-4EA6-AD23-737DAF4954EB}" dt="2024-05-08T17:40:00.815" v="44" actId="47"/>
        <pc:sldMkLst>
          <pc:docMk/>
          <pc:sldMk cId="260264100" sldId="2147481999"/>
        </pc:sldMkLst>
      </pc:sldChg>
      <pc:sldChg chg="del">
        <pc:chgData name="Jenalle Huang" userId="2cf21d77-d186-4a5f-a9ba-71fd767305aa" providerId="ADAL" clId="{9E0A30A1-386D-4EA6-AD23-737DAF4954EB}" dt="2024-05-08T17:39:59.782" v="43" actId="47"/>
        <pc:sldMkLst>
          <pc:docMk/>
          <pc:sldMk cId="3534594139" sldId="2147482000"/>
        </pc:sldMkLst>
      </pc:sldChg>
      <pc:sldChg chg="del">
        <pc:chgData name="Jenalle Huang" userId="2cf21d77-d186-4a5f-a9ba-71fd767305aa" providerId="ADAL" clId="{9E0A30A1-386D-4EA6-AD23-737DAF4954EB}" dt="2024-05-08T17:40:03.603" v="50" actId="47"/>
        <pc:sldMkLst>
          <pc:docMk/>
          <pc:sldMk cId="329344" sldId="2147482001"/>
        </pc:sldMkLst>
      </pc:sldChg>
      <pc:sldChg chg="del">
        <pc:chgData name="Jenalle Huang" userId="2cf21d77-d186-4a5f-a9ba-71fd767305aa" providerId="ADAL" clId="{9E0A30A1-386D-4EA6-AD23-737DAF4954EB}" dt="2024-05-08T17:40:02.801" v="49" actId="47"/>
        <pc:sldMkLst>
          <pc:docMk/>
          <pc:sldMk cId="1544683221" sldId="2147482002"/>
        </pc:sldMkLst>
      </pc:sldChg>
      <pc:sldChg chg="del">
        <pc:chgData name="Jenalle Huang" userId="2cf21d77-d186-4a5f-a9ba-71fd767305aa" providerId="ADAL" clId="{9E0A30A1-386D-4EA6-AD23-737DAF4954EB}" dt="2024-05-08T17:40:15.625" v="55" actId="47"/>
        <pc:sldMkLst>
          <pc:docMk/>
          <pc:sldMk cId="3571758081" sldId="2147482004"/>
        </pc:sldMkLst>
      </pc:sldChg>
      <pc:sldChg chg="del">
        <pc:chgData name="Jenalle Huang" userId="2cf21d77-d186-4a5f-a9ba-71fd767305aa" providerId="ADAL" clId="{9E0A30A1-386D-4EA6-AD23-737DAF4954EB}" dt="2024-05-08T17:40:14.958" v="54" actId="47"/>
        <pc:sldMkLst>
          <pc:docMk/>
          <pc:sldMk cId="3537900216" sldId="2147482005"/>
        </pc:sldMkLst>
      </pc:sldChg>
      <pc:sldChg chg="del">
        <pc:chgData name="Jenalle Huang" userId="2cf21d77-d186-4a5f-a9ba-71fd767305aa" providerId="ADAL" clId="{9E0A30A1-386D-4EA6-AD23-737DAF4954EB}" dt="2024-05-08T17:40:19.711" v="60" actId="47"/>
        <pc:sldMkLst>
          <pc:docMk/>
          <pc:sldMk cId="36218956" sldId="2147482006"/>
        </pc:sldMkLst>
      </pc:sldChg>
      <pc:sldChg chg="del">
        <pc:chgData name="Jenalle Huang" userId="2cf21d77-d186-4a5f-a9ba-71fd767305aa" providerId="ADAL" clId="{9E0A30A1-386D-4EA6-AD23-737DAF4954EB}" dt="2024-05-08T17:40:19.245" v="59" actId="47"/>
        <pc:sldMkLst>
          <pc:docMk/>
          <pc:sldMk cId="2528968086" sldId="2147482007"/>
        </pc:sldMkLst>
      </pc:sldChg>
      <pc:sldChg chg="modSp add del mod">
        <pc:chgData name="Jenalle Huang" userId="2cf21d77-d186-4a5f-a9ba-71fd767305aa" providerId="ADAL" clId="{9E0A30A1-386D-4EA6-AD23-737DAF4954EB}" dt="2024-05-08T17:40:52.694" v="84" actId="47"/>
        <pc:sldMkLst>
          <pc:docMk/>
          <pc:sldMk cId="63008249" sldId="2147482008"/>
        </pc:sldMkLst>
        <pc:spChg chg="mod">
          <ac:chgData name="Jenalle Huang" userId="2cf21d77-d186-4a5f-a9ba-71fd767305aa" providerId="ADAL" clId="{9E0A30A1-386D-4EA6-AD23-737DAF4954EB}" dt="2024-05-08T17:40:24.240" v="69"/>
          <ac:spMkLst>
            <pc:docMk/>
            <pc:sldMk cId="63008249" sldId="2147482008"/>
            <ac:spMk id="8" creationId="{3F22FA21-0503-BA65-F917-6A700DCF2E6D}"/>
          </ac:spMkLst>
        </pc:spChg>
        <pc:spChg chg="mod">
          <ac:chgData name="Jenalle Huang" userId="2cf21d77-d186-4a5f-a9ba-71fd767305aa" providerId="ADAL" clId="{9E0A30A1-386D-4EA6-AD23-737DAF4954EB}" dt="2024-05-08T17:40:24.240" v="70"/>
          <ac:spMkLst>
            <pc:docMk/>
            <pc:sldMk cId="63008249" sldId="2147482008"/>
            <ac:spMk id="19" creationId="{C7173A56-8025-3CAA-F9FB-06D4D5EBB7C6}"/>
          </ac:spMkLst>
        </pc:spChg>
        <pc:graphicFrameChg chg="mod replST">
          <ac:chgData name="Jenalle Huang" userId="2cf21d77-d186-4a5f-a9ba-71fd767305aa" providerId="ADAL" clId="{9E0A30A1-386D-4EA6-AD23-737DAF4954EB}" dt="2024-05-08T17:40:34.493" v="73" actId="1076"/>
          <ac:graphicFrameMkLst>
            <pc:docMk/>
            <pc:sldMk cId="63008249" sldId="2147482008"/>
            <ac:graphicFrameMk id="7" creationId="{7E18BE8C-6B3B-2F7E-292A-D54B173C0B2A}"/>
          </ac:graphicFrameMkLst>
        </pc:graphicFrameChg>
      </pc:sldChg>
      <pc:sldChg chg="modSp add del mod">
        <pc:chgData name="Jenalle Huang" userId="2cf21d77-d186-4a5f-a9ba-71fd767305aa" providerId="ADAL" clId="{9E0A30A1-386D-4EA6-AD23-737DAF4954EB}" dt="2024-05-08T17:40:51.931" v="83" actId="47"/>
        <pc:sldMkLst>
          <pc:docMk/>
          <pc:sldMk cId="2553628323" sldId="2147482009"/>
        </pc:sldMkLst>
        <pc:spChg chg="mod">
          <ac:chgData name="Jenalle Huang" userId="2cf21d77-d186-4a5f-a9ba-71fd767305aa" providerId="ADAL" clId="{9E0A30A1-386D-4EA6-AD23-737DAF4954EB}" dt="2024-05-08T17:40:36.359" v="78"/>
          <ac:spMkLst>
            <pc:docMk/>
            <pc:sldMk cId="2553628323" sldId="2147482009"/>
            <ac:spMk id="14" creationId="{3CF7E6E3-74D8-5911-8821-25E2E0F97E62}"/>
          </ac:spMkLst>
        </pc:spChg>
        <pc:spChg chg="mod">
          <ac:chgData name="Jenalle Huang" userId="2cf21d77-d186-4a5f-a9ba-71fd767305aa" providerId="ADAL" clId="{9E0A30A1-386D-4EA6-AD23-737DAF4954EB}" dt="2024-05-08T17:40:36.359" v="79"/>
          <ac:spMkLst>
            <pc:docMk/>
            <pc:sldMk cId="2553628323" sldId="2147482009"/>
            <ac:spMk id="19" creationId="{70F33139-06AE-7AFC-6B33-24AD7F4A966D}"/>
          </ac:spMkLst>
        </pc:spChg>
        <pc:spChg chg="mod">
          <ac:chgData name="Jenalle Huang" userId="2cf21d77-d186-4a5f-a9ba-71fd767305aa" providerId="ADAL" clId="{9E0A30A1-386D-4EA6-AD23-737DAF4954EB}" dt="2024-05-08T17:40:36.363" v="80"/>
          <ac:spMkLst>
            <pc:docMk/>
            <pc:sldMk cId="2553628323" sldId="2147482009"/>
            <ac:spMk id="20" creationId="{EE331237-3DCE-C36F-2A1F-18D334E27055}"/>
          </ac:spMkLst>
        </pc:spChg>
        <pc:graphicFrameChg chg="mod replST">
          <ac:chgData name="Jenalle Huang" userId="2cf21d77-d186-4a5f-a9ba-71fd767305aa" providerId="ADAL" clId="{9E0A30A1-386D-4EA6-AD23-737DAF4954EB}" dt="2024-05-08T17:40:36.391" v="82"/>
          <ac:graphicFrameMkLst>
            <pc:docMk/>
            <pc:sldMk cId="2553628323" sldId="2147482009"/>
            <ac:graphicFrameMk id="6" creationId="{0498ACB8-85D7-0B91-1E81-62625D92EC8F}"/>
          </ac:graphicFrameMkLst>
        </pc:graphicFrameChg>
      </pc:sldChg>
      <pc:sldChg chg="del">
        <pc:chgData name="Jenalle Huang" userId="2cf21d77-d186-4a5f-a9ba-71fd767305aa" providerId="ADAL" clId="{9E0A30A1-386D-4EA6-AD23-737DAF4954EB}" dt="2024-05-08T17:39:50.342" v="2" actId="47"/>
        <pc:sldMkLst>
          <pc:docMk/>
          <pc:sldMk cId="4090608669" sldId="2147482010"/>
        </pc:sldMkLst>
      </pc:sldChg>
      <pc:sldChg chg="del">
        <pc:chgData name="Jenalle Huang" userId="2cf21d77-d186-4a5f-a9ba-71fd767305aa" providerId="ADAL" clId="{9E0A30A1-386D-4EA6-AD23-737DAF4954EB}" dt="2024-05-08T17:39:51.335" v="7" actId="47"/>
        <pc:sldMkLst>
          <pc:docMk/>
          <pc:sldMk cId="2940159943" sldId="2147482011"/>
        </pc:sldMkLst>
      </pc:sldChg>
      <pc:sldChg chg="del">
        <pc:chgData name="Jenalle Huang" userId="2cf21d77-d186-4a5f-a9ba-71fd767305aa" providerId="ADAL" clId="{9E0A30A1-386D-4EA6-AD23-737DAF4954EB}" dt="2024-05-08T17:39:52.258" v="12" actId="47"/>
        <pc:sldMkLst>
          <pc:docMk/>
          <pc:sldMk cId="2146461261" sldId="2147482012"/>
        </pc:sldMkLst>
      </pc:sldChg>
      <pc:sldChg chg="del">
        <pc:chgData name="Jenalle Huang" userId="2cf21d77-d186-4a5f-a9ba-71fd767305aa" providerId="ADAL" clId="{9E0A30A1-386D-4EA6-AD23-737DAF4954EB}" dt="2024-05-08T17:39:53.284" v="17" actId="47"/>
        <pc:sldMkLst>
          <pc:docMk/>
          <pc:sldMk cId="727379196" sldId="2147482013"/>
        </pc:sldMkLst>
      </pc:sldChg>
      <pc:sldChg chg="del">
        <pc:chgData name="Jenalle Huang" userId="2cf21d77-d186-4a5f-a9ba-71fd767305aa" providerId="ADAL" clId="{9E0A30A1-386D-4EA6-AD23-737DAF4954EB}" dt="2024-05-08T17:39:55.408" v="22" actId="47"/>
        <pc:sldMkLst>
          <pc:docMk/>
          <pc:sldMk cId="530289441" sldId="2147482014"/>
        </pc:sldMkLst>
      </pc:sldChg>
      <pc:sldChg chg="del">
        <pc:chgData name="Jenalle Huang" userId="2cf21d77-d186-4a5f-a9ba-71fd767305aa" providerId="ADAL" clId="{9E0A30A1-386D-4EA6-AD23-737DAF4954EB}" dt="2024-05-08T17:39:58.679" v="37" actId="47"/>
        <pc:sldMkLst>
          <pc:docMk/>
          <pc:sldMk cId="4226535942" sldId="2147482016"/>
        </pc:sldMkLst>
      </pc:sldChg>
      <pc:sldChg chg="del">
        <pc:chgData name="Jenalle Huang" userId="2cf21d77-d186-4a5f-a9ba-71fd767305aa" providerId="ADAL" clId="{9E0A30A1-386D-4EA6-AD23-737DAF4954EB}" dt="2024-05-08T17:39:57.905" v="33" actId="47"/>
        <pc:sldMkLst>
          <pc:docMk/>
          <pc:sldMk cId="3842459088" sldId="2147482017"/>
        </pc:sldMkLst>
      </pc:sldChg>
      <pc:sldChg chg="del">
        <pc:chgData name="Jenalle Huang" userId="2cf21d77-d186-4a5f-a9ba-71fd767305aa" providerId="ADAL" clId="{9E0A30A1-386D-4EA6-AD23-737DAF4954EB}" dt="2024-05-08T17:39:58.908" v="38" actId="47"/>
        <pc:sldMkLst>
          <pc:docMk/>
          <pc:sldMk cId="3308476308" sldId="2147482018"/>
        </pc:sldMkLst>
      </pc:sldChg>
      <pc:sldChg chg="del">
        <pc:chgData name="Jenalle Huang" userId="2cf21d77-d186-4a5f-a9ba-71fd767305aa" providerId="ADAL" clId="{9E0A30A1-386D-4EA6-AD23-737DAF4954EB}" dt="2024-05-08T17:40:01.039" v="45" actId="47"/>
        <pc:sldMkLst>
          <pc:docMk/>
          <pc:sldMk cId="2447205899" sldId="2147482019"/>
        </pc:sldMkLst>
      </pc:sldChg>
      <pc:sldChg chg="del">
        <pc:chgData name="Jenalle Huang" userId="2cf21d77-d186-4a5f-a9ba-71fd767305aa" providerId="ADAL" clId="{9E0A30A1-386D-4EA6-AD23-737DAF4954EB}" dt="2024-05-08T17:40:13.737" v="51" actId="47"/>
        <pc:sldMkLst>
          <pc:docMk/>
          <pc:sldMk cId="3926142583" sldId="2147482021"/>
        </pc:sldMkLst>
      </pc:sldChg>
      <pc:sldChg chg="del">
        <pc:chgData name="Jenalle Huang" userId="2cf21d77-d186-4a5f-a9ba-71fd767305aa" providerId="ADAL" clId="{9E0A30A1-386D-4EA6-AD23-737DAF4954EB}" dt="2024-05-08T17:40:18.007" v="56" actId="47"/>
        <pc:sldMkLst>
          <pc:docMk/>
          <pc:sldMk cId="4276543715" sldId="2147482022"/>
        </pc:sldMkLst>
      </pc:sldChg>
      <pc:sldChg chg="del">
        <pc:chgData name="Jenalle Huang" userId="2cf21d77-d186-4a5f-a9ba-71fd767305aa" providerId="ADAL" clId="{9E0A30A1-386D-4EA6-AD23-737DAF4954EB}" dt="2024-05-08T17:40:20.112" v="61" actId="47"/>
        <pc:sldMkLst>
          <pc:docMk/>
          <pc:sldMk cId="3579555298" sldId="2147482023"/>
        </pc:sldMkLst>
      </pc:sldChg>
      <pc:sldChg chg="del">
        <pc:chgData name="Jenalle Huang" userId="2cf21d77-d186-4a5f-a9ba-71fd767305aa" providerId="ADAL" clId="{9E0A30A1-386D-4EA6-AD23-737DAF4954EB}" dt="2024-05-08T17:39:49.794" v="0" actId="47"/>
        <pc:sldMkLst>
          <pc:docMk/>
          <pc:sldMk cId="2989963945" sldId="2147482026"/>
        </pc:sldMkLst>
      </pc:sldChg>
      <pc:sldChg chg="del">
        <pc:chgData name="Jenalle Huang" userId="2cf21d77-d186-4a5f-a9ba-71fd767305aa" providerId="ADAL" clId="{9E0A30A1-386D-4EA6-AD23-737DAF4954EB}" dt="2024-05-08T17:39:56.259" v="25" actId="47"/>
        <pc:sldMkLst>
          <pc:docMk/>
          <pc:sldMk cId="4014135789" sldId="2147482027"/>
        </pc:sldMkLst>
      </pc:sldChg>
      <pc:sldChg chg="del">
        <pc:chgData name="Jenalle Huang" userId="2cf21d77-d186-4a5f-a9ba-71fd767305aa" providerId="ADAL" clId="{9E0A30A1-386D-4EA6-AD23-737DAF4954EB}" dt="2024-05-08T17:39:59.595" v="42" actId="47"/>
        <pc:sldMkLst>
          <pc:docMk/>
          <pc:sldMk cId="3800892628" sldId="2147482028"/>
        </pc:sldMkLst>
      </pc:sldChg>
      <pc:sldChg chg="del">
        <pc:chgData name="Jenalle Huang" userId="2cf21d77-d186-4a5f-a9ba-71fd767305aa" providerId="ADAL" clId="{9E0A30A1-386D-4EA6-AD23-737DAF4954EB}" dt="2024-05-08T17:40:02.195" v="48" actId="47"/>
        <pc:sldMkLst>
          <pc:docMk/>
          <pc:sldMk cId="2747387279" sldId="2147482029"/>
        </pc:sldMkLst>
      </pc:sldChg>
    </pc:docChg>
  </pc:docChgLst>
  <pc:docChgLst>
    <pc:chgData name="Valentina Losada" userId="12c76205-c9be-43ad-bc33-b218726c6d59" providerId="ADAL" clId="{C6FEE3AD-824B-4D5A-B5CF-F1C92BD5DD09}"/>
    <pc:docChg chg="modSld">
      <pc:chgData name="Valentina Losada" userId="12c76205-c9be-43ad-bc33-b218726c6d59" providerId="ADAL" clId="{C6FEE3AD-824B-4D5A-B5CF-F1C92BD5DD09}" dt="2024-02-22T16:52:24.201" v="5"/>
      <pc:docMkLst>
        <pc:docMk/>
      </pc:docMkLst>
      <pc:sldChg chg="modSp mod">
        <pc:chgData name="Valentina Losada" userId="12c76205-c9be-43ad-bc33-b218726c6d59" providerId="ADAL" clId="{C6FEE3AD-824B-4D5A-B5CF-F1C92BD5DD09}" dt="2024-02-22T16:52:24.201" v="5"/>
        <pc:sldMkLst>
          <pc:docMk/>
          <pc:sldMk cId="3842459088" sldId="2147482017"/>
        </pc:sldMkLst>
        <pc:spChg chg="mod">
          <ac:chgData name="Valentina Losada" userId="12c76205-c9be-43ad-bc33-b218726c6d59" providerId="ADAL" clId="{C6FEE3AD-824B-4D5A-B5CF-F1C92BD5DD09}" dt="2024-02-22T16:52:24.201" v="5"/>
          <ac:spMkLst>
            <pc:docMk/>
            <pc:sldMk cId="3842459088" sldId="2147482017"/>
            <ac:spMk id="7" creationId="{5E204A6E-8C70-06BA-B8CA-463F04423FBC}"/>
          </ac:spMkLst>
        </pc:spChg>
      </pc:sldChg>
    </pc:docChg>
  </pc:docChgLst>
  <pc:docChgLst>
    <pc:chgData name="Valentina Losada" userId="12c76205-c9be-43ad-bc33-b218726c6d59" providerId="ADAL" clId="{FB18CD03-E601-4B29-939E-EB5F6A661116}"/>
    <pc:docChg chg="modSld">
      <pc:chgData name="Valentina Losada" userId="12c76205-c9be-43ad-bc33-b218726c6d59" providerId="ADAL" clId="{FB18CD03-E601-4B29-939E-EB5F6A661116}" dt="2024-02-23T17:38:50.064" v="6" actId="6549"/>
      <pc:docMkLst>
        <pc:docMk/>
      </pc:docMkLst>
      <pc:sldChg chg="modSp mod">
        <pc:chgData name="Valentina Losada" userId="12c76205-c9be-43ad-bc33-b218726c6d59" providerId="ADAL" clId="{FB18CD03-E601-4B29-939E-EB5F6A661116}" dt="2024-02-23T17:38:50.064" v="6" actId="6549"/>
        <pc:sldMkLst>
          <pc:docMk/>
          <pc:sldMk cId="3842459088" sldId="2147482017"/>
        </pc:sldMkLst>
        <pc:spChg chg="mod">
          <ac:chgData name="Valentina Losada" userId="12c76205-c9be-43ad-bc33-b218726c6d59" providerId="ADAL" clId="{FB18CD03-E601-4B29-939E-EB5F6A661116}" dt="2024-02-23T17:38:50.064" v="6" actId="6549"/>
          <ac:spMkLst>
            <pc:docMk/>
            <pc:sldMk cId="3842459088" sldId="2147482017"/>
            <ac:spMk id="16" creationId="{E7E48DE2-497F-2E71-400D-947030854968}"/>
          </ac:spMkLst>
        </pc:spChg>
      </pc:sldChg>
    </pc:docChg>
  </pc:docChgLst>
  <pc:docChgLst>
    <pc:chgData name="Jenalle Huang" userId="S::jenalle_huang@mckinsey.com::2cf21d77-d186-4a5f-a9ba-71fd767305aa" providerId="AD" clId="Web-{4A9EA149-F1B5-2C38-26D7-B75560FC73D2}"/>
    <pc:docChg chg="mod modSld">
      <pc:chgData name="Jenalle Huang" userId="S::jenalle_huang@mckinsey.com::2cf21d77-d186-4a5f-a9ba-71fd767305aa" providerId="AD" clId="Web-{4A9EA149-F1B5-2C38-26D7-B75560FC73D2}" dt="2024-03-18T16:04:38.389" v="181"/>
      <pc:docMkLst>
        <pc:docMk/>
      </pc:docMkLst>
      <pc:sldChg chg="addCm">
        <pc:chgData name="Jenalle Huang" userId="S::jenalle_huang@mckinsey.com::2cf21d77-d186-4a5f-a9ba-71fd767305aa" providerId="AD" clId="Web-{4A9EA149-F1B5-2C38-26D7-B75560FC73D2}" dt="2024-03-18T15:04:04.641" v="69"/>
        <pc:sldMkLst>
          <pc:docMk/>
          <pc:sldMk cId="604887844" sldId="214748195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04:04.641" v="69"/>
              <pc2:cmMkLst xmlns:pc2="http://schemas.microsoft.com/office/powerpoint/2019/9/main/command">
                <pc:docMk/>
                <pc:sldMk cId="604887844" sldId="2147481958"/>
                <pc2:cmMk id="{9A2F4F8A-B29B-4B02-BA5A-E912C3A22C89}"/>
              </pc2:cmMkLst>
            </pc226:cmChg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4:21:19.560" v="16"/>
              <pc2:cmMkLst xmlns:pc2="http://schemas.microsoft.com/office/powerpoint/2019/9/main/command">
                <pc:docMk/>
                <pc:sldMk cId="604887844" sldId="2147481958"/>
                <pc2:cmMk id="{6EF1E58E-53D3-4059-B890-2664FEE327E2}"/>
              </pc2:cmMkLst>
            </pc226:cmChg>
          </p:ext>
        </pc:extLst>
      </pc:sldChg>
      <pc:sldChg chg="modSp addCm">
        <pc:chgData name="Jenalle Huang" userId="S::jenalle_huang@mckinsey.com::2cf21d77-d186-4a5f-a9ba-71fd767305aa" providerId="AD" clId="Web-{4A9EA149-F1B5-2C38-26D7-B75560FC73D2}" dt="2024-03-18T15:15:06.964" v="94"/>
        <pc:sldMkLst>
          <pc:docMk/>
          <pc:sldMk cId="3479952278" sldId="2147481964"/>
        </pc:sldMkLst>
        <pc:spChg chg="mod">
          <ac:chgData name="Jenalle Huang" userId="S::jenalle_huang@mckinsey.com::2cf21d77-d186-4a5f-a9ba-71fd767305aa" providerId="AD" clId="Web-{4A9EA149-F1B5-2C38-26D7-B75560FC73D2}" dt="2024-03-18T15:12:59.412" v="92" actId="20577"/>
          <ac:spMkLst>
            <pc:docMk/>
            <pc:sldMk cId="3479952278" sldId="2147481964"/>
            <ac:spMk id="8" creationId="{8A22082C-3279-49BC-C162-588A27AD2734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14:03.805" v="93"/>
              <pc2:cmMkLst xmlns:pc2="http://schemas.microsoft.com/office/powerpoint/2019/9/main/command">
                <pc:docMk/>
                <pc:sldMk cId="3479952278" sldId="2147481964"/>
                <pc2:cmMk id="{F2F0794D-DEC5-4FE1-864A-E8AD746AA3F2}"/>
              </pc2:cmMkLst>
            </pc226:cmChg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10:15.406" v="89"/>
              <pc2:cmMkLst xmlns:pc2="http://schemas.microsoft.com/office/powerpoint/2019/9/main/command">
                <pc:docMk/>
                <pc:sldMk cId="3479952278" sldId="2147481964"/>
                <pc2:cmMk id="{8219106E-5E00-4622-B490-0205A6D4EA1B}"/>
              </pc2:cmMkLst>
            </pc226:cmChg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15:06.964" v="94"/>
              <pc2:cmMkLst xmlns:pc2="http://schemas.microsoft.com/office/powerpoint/2019/9/main/command">
                <pc:docMk/>
                <pc:sldMk cId="3479952278" sldId="2147481964"/>
                <pc2:cmMk id="{8A5FF1A1-E39E-4E09-AA74-CEDFFC2AEBAD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5:30:46.171" v="125"/>
        <pc:sldMkLst>
          <pc:docMk/>
          <pc:sldMk cId="671389596" sldId="214748196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30:46.171" v="125"/>
              <pc2:cmMkLst xmlns:pc2="http://schemas.microsoft.com/office/powerpoint/2019/9/main/command">
                <pc:docMk/>
                <pc:sldMk cId="671389596" sldId="2147481966"/>
                <pc2:cmMk id="{DD5C396E-0448-4984-A813-37461B8A3AB1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5:34:41.352" v="127"/>
        <pc:sldMkLst>
          <pc:docMk/>
          <pc:sldMk cId="3617085390" sldId="214748196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34:41.352" v="127"/>
              <pc2:cmMkLst xmlns:pc2="http://schemas.microsoft.com/office/powerpoint/2019/9/main/command">
                <pc:docMk/>
                <pc:sldMk cId="3617085390" sldId="2147481969"/>
                <pc2:cmMk id="{05378A33-2632-43F0-B9B7-E30039C7E7B5}"/>
              </pc2:cmMkLst>
            </pc226:cmChg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34:22.273" v="126"/>
              <pc2:cmMkLst xmlns:pc2="http://schemas.microsoft.com/office/powerpoint/2019/9/main/command">
                <pc:docMk/>
                <pc:sldMk cId="3617085390" sldId="2147481969"/>
                <pc2:cmMk id="{21D5C5A2-9051-4BD3-8DC3-B3A121FBDEED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5:49:06.119" v="162"/>
        <pc:sldMkLst>
          <pc:docMk/>
          <pc:sldMk cId="2968502433" sldId="214748197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49:06.119" v="162"/>
              <pc2:cmMkLst xmlns:pc2="http://schemas.microsoft.com/office/powerpoint/2019/9/main/command">
                <pc:docMk/>
                <pc:sldMk cId="2968502433" sldId="2147481971"/>
                <pc2:cmMk id="{E01ACD8B-1565-4225-AEE2-409367A1C30D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5:53:29.239" v="166"/>
        <pc:sldMkLst>
          <pc:docMk/>
          <pc:sldMk cId="3162163094" sldId="214748197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53:29.239" v="166"/>
              <pc2:cmMkLst xmlns:pc2="http://schemas.microsoft.com/office/powerpoint/2019/9/main/command">
                <pc:docMk/>
                <pc:sldMk cId="3162163094" sldId="2147481972"/>
                <pc2:cmMk id="{8796D5A8-0766-452A-A51D-BE6EF041406B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5:43:34.544" v="133"/>
        <pc:sldMkLst>
          <pc:docMk/>
          <pc:sldMk cId="102006245" sldId="214748197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43:34.544" v="133"/>
              <pc2:cmMkLst xmlns:pc2="http://schemas.microsoft.com/office/powerpoint/2019/9/main/command">
                <pc:docMk/>
                <pc:sldMk cId="102006245" sldId="2147481974"/>
                <pc2:cmMk id="{066089B5-BCC4-4A3E-8835-F630F4CB53BF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5:51:12.046" v="163"/>
        <pc:sldMkLst>
          <pc:docMk/>
          <pc:sldMk cId="3724811013" sldId="214748197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51:12.046" v="163"/>
              <pc2:cmMkLst xmlns:pc2="http://schemas.microsoft.com/office/powerpoint/2019/9/main/command">
                <pc:docMk/>
                <pc:sldMk cId="3724811013" sldId="2147481975"/>
                <pc2:cmMk id="{54326DF7-0CF9-4596-BBAD-FA032EEE44E6}"/>
              </pc2:cmMkLst>
            </pc226:cmChg>
          </p:ext>
        </pc:extLst>
      </pc:sldChg>
      <pc:sldChg chg="addSp delSp modSp addCm">
        <pc:chgData name="Jenalle Huang" userId="S::jenalle_huang@mckinsey.com::2cf21d77-d186-4a5f-a9ba-71fd767305aa" providerId="AD" clId="Web-{4A9EA149-F1B5-2C38-26D7-B75560FC73D2}" dt="2024-03-18T15:57:27.280" v="177" actId="1076"/>
        <pc:sldMkLst>
          <pc:docMk/>
          <pc:sldMk cId="2068309478" sldId="2147481977"/>
        </pc:sldMkLst>
        <pc:spChg chg="add del">
          <ac:chgData name="Jenalle Huang" userId="S::jenalle_huang@mckinsey.com::2cf21d77-d186-4a5f-a9ba-71fd767305aa" providerId="AD" clId="Web-{4A9EA149-F1B5-2C38-26D7-B75560FC73D2}" dt="2024-03-18T15:56:18.011" v="168"/>
          <ac:spMkLst>
            <pc:docMk/>
            <pc:sldMk cId="2068309478" sldId="2147481977"/>
            <ac:spMk id="2" creationId="{AFD1349B-B236-C444-ACD0-97DE13BD80C9}"/>
          </ac:spMkLst>
        </pc:spChg>
        <pc:spChg chg="add del">
          <ac:chgData name="Jenalle Huang" userId="S::jenalle_huang@mckinsey.com::2cf21d77-d186-4a5f-a9ba-71fd767305aa" providerId="AD" clId="Web-{4A9EA149-F1B5-2C38-26D7-B75560FC73D2}" dt="2024-03-18T15:56:34.449" v="172"/>
          <ac:spMkLst>
            <pc:docMk/>
            <pc:sldMk cId="2068309478" sldId="2147481977"/>
            <ac:spMk id="3" creationId="{F065268A-867B-0BD0-5C10-DCD2CD5A54AD}"/>
          </ac:spMkLst>
        </pc:spChg>
        <pc:spChg chg="add del">
          <ac:chgData name="Jenalle Huang" userId="S::jenalle_huang@mckinsey.com::2cf21d77-d186-4a5f-a9ba-71fd767305aa" providerId="AD" clId="Web-{4A9EA149-F1B5-2C38-26D7-B75560FC73D2}" dt="2024-03-18T15:56:21.589" v="170"/>
          <ac:spMkLst>
            <pc:docMk/>
            <pc:sldMk cId="2068309478" sldId="2147481977"/>
            <ac:spMk id="30" creationId="{BB46DE07-37A8-FD58-5F56-AC050E40B2ED}"/>
          </ac:spMkLst>
        </pc:spChg>
        <pc:picChg chg="add mod">
          <ac:chgData name="Jenalle Huang" userId="S::jenalle_huang@mckinsey.com::2cf21d77-d186-4a5f-a9ba-71fd767305aa" providerId="AD" clId="Web-{4A9EA149-F1B5-2C38-26D7-B75560FC73D2}" dt="2024-03-18T15:57:27.280" v="177" actId="1076"/>
          <ac:picMkLst>
            <pc:docMk/>
            <pc:sldMk cId="2068309478" sldId="2147481977"/>
            <ac:picMk id="4" creationId="{494AD8C2-69DE-3B13-1376-8F56ACF2C4D2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57:22.341" v="176"/>
              <pc2:cmMkLst xmlns:pc2="http://schemas.microsoft.com/office/powerpoint/2019/9/main/command">
                <pc:docMk/>
                <pc:sldMk cId="2068309478" sldId="2147481977"/>
                <pc2:cmMk id="{C839CA2A-9DA1-459E-917A-DA0744ED8BE9}"/>
              </pc2:cmMkLst>
            </pc226:cmChg>
          </p:ext>
        </pc:extLst>
      </pc:sldChg>
      <pc:sldChg chg="addCm">
        <pc:chgData name="Jenalle Huang" userId="S::jenalle_huang@mckinsey.com::2cf21d77-d186-4a5f-a9ba-71fd767305aa" providerId="AD" clId="Web-{4A9EA149-F1B5-2C38-26D7-B75560FC73D2}" dt="2024-03-18T16:04:38.389" v="181"/>
        <pc:sldMkLst>
          <pc:docMk/>
          <pc:sldMk cId="3097746360" sldId="214748198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6:04:38.389" v="181"/>
              <pc2:cmMkLst xmlns:pc2="http://schemas.microsoft.com/office/powerpoint/2019/9/main/command">
                <pc:docMk/>
                <pc:sldMk cId="3097746360" sldId="2147481983"/>
                <pc2:cmMk id="{C00B7689-06F8-4720-91B8-CC7E0AD736CB}"/>
              </pc2:cmMkLst>
            </pc226:cmChg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6:03:53.762" v="180"/>
              <pc2:cmMkLst xmlns:pc2="http://schemas.microsoft.com/office/powerpoint/2019/9/main/command">
                <pc:docMk/>
                <pc:sldMk cId="3097746360" sldId="2147481983"/>
                <pc2:cmMk id="{43F889E7-BBD0-4FED-9BC9-5BE858FBA176}"/>
              </pc2:cmMkLst>
            </pc226:cmChg>
          </p:ext>
        </pc:extLst>
      </pc:sldChg>
      <pc:sldChg chg="modSp">
        <pc:chgData name="Jenalle Huang" userId="S::jenalle_huang@mckinsey.com::2cf21d77-d186-4a5f-a9ba-71fd767305aa" providerId="AD" clId="Web-{4A9EA149-F1B5-2C38-26D7-B75560FC73D2}" dt="2024-03-18T14:23:34.940" v="19" actId="20577"/>
        <pc:sldMkLst>
          <pc:docMk/>
          <pc:sldMk cId="1666424438" sldId="2147481988"/>
        </pc:sldMkLst>
        <pc:spChg chg="mod">
          <ac:chgData name="Jenalle Huang" userId="S::jenalle_huang@mckinsey.com::2cf21d77-d186-4a5f-a9ba-71fd767305aa" providerId="AD" clId="Web-{4A9EA149-F1B5-2C38-26D7-B75560FC73D2}" dt="2024-03-18T14:23:34.940" v="19" actId="20577"/>
          <ac:spMkLst>
            <pc:docMk/>
            <pc:sldMk cId="1666424438" sldId="2147481988"/>
            <ac:spMk id="27" creationId="{DC0663A4-F8F2-843B-CE10-270B4507A5B5}"/>
          </ac:spMkLst>
        </pc:spChg>
      </pc:sldChg>
      <pc:sldChg chg="modSp addCm">
        <pc:chgData name="Jenalle Huang" userId="S::jenalle_huang@mckinsey.com::2cf21d77-d186-4a5f-a9ba-71fd767305aa" providerId="AD" clId="Web-{4A9EA149-F1B5-2C38-26D7-B75560FC73D2}" dt="2024-03-18T14:25:22.115" v="68"/>
        <pc:sldMkLst>
          <pc:docMk/>
          <pc:sldMk cId="683050507" sldId="2147481990"/>
        </pc:sldMkLst>
        <pc:spChg chg="mod">
          <ac:chgData name="Jenalle Huang" userId="S::jenalle_huang@mckinsey.com::2cf21d77-d186-4a5f-a9ba-71fd767305aa" providerId="AD" clId="Web-{4A9EA149-F1B5-2C38-26D7-B75560FC73D2}" dt="2024-03-18T14:24:55.396" v="67" actId="20577"/>
          <ac:spMkLst>
            <pc:docMk/>
            <pc:sldMk cId="683050507" sldId="2147481990"/>
            <ac:spMk id="34" creationId="{A92D7EF9-14F7-8B71-FB79-D0F6D53394A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4:25:22.115" v="68"/>
              <pc2:cmMkLst xmlns:pc2="http://schemas.microsoft.com/office/powerpoint/2019/9/main/command">
                <pc:docMk/>
                <pc:sldMk cId="683050507" sldId="2147481990"/>
                <pc2:cmMk id="{3ACE7094-3480-4F66-AFAC-EF46F5387DB4}"/>
              </pc2:cmMkLst>
            </pc226:cmChg>
          </p:ext>
        </pc:extLst>
      </pc:sldChg>
      <pc:sldChg chg="modSp">
        <pc:chgData name="Jenalle Huang" userId="S::jenalle_huang@mckinsey.com::2cf21d77-d186-4a5f-a9ba-71fd767305aa" providerId="AD" clId="Web-{4A9EA149-F1B5-2C38-26D7-B75560FC73D2}" dt="2024-03-18T15:08:24.417" v="75" actId="20577"/>
        <pc:sldMkLst>
          <pc:docMk/>
          <pc:sldMk cId="459053279" sldId="2147481992"/>
        </pc:sldMkLst>
        <pc:spChg chg="mod">
          <ac:chgData name="Jenalle Huang" userId="S::jenalle_huang@mckinsey.com::2cf21d77-d186-4a5f-a9ba-71fd767305aa" providerId="AD" clId="Web-{4A9EA149-F1B5-2C38-26D7-B75560FC73D2}" dt="2024-03-18T15:08:24.417" v="75" actId="20577"/>
          <ac:spMkLst>
            <pc:docMk/>
            <pc:sldMk cId="459053279" sldId="2147481992"/>
            <ac:spMk id="27" creationId="{DC0663A4-F8F2-843B-CE10-270B4507A5B5}"/>
          </ac:spMkLst>
        </pc:spChg>
      </pc:sldChg>
      <pc:sldChg chg="addCm">
        <pc:chgData name="Jenalle Huang" userId="S::jenalle_huang@mckinsey.com::2cf21d77-d186-4a5f-a9ba-71fd767305aa" providerId="AD" clId="Web-{4A9EA149-F1B5-2C38-26D7-B75560FC73D2}" dt="2024-03-18T15:17:34.579" v="96"/>
        <pc:sldMkLst>
          <pc:docMk/>
          <pc:sldMk cId="1515389117" sldId="214748199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17:34.579" v="96"/>
              <pc2:cmMkLst xmlns:pc2="http://schemas.microsoft.com/office/powerpoint/2019/9/main/command">
                <pc:docMk/>
                <pc:sldMk cId="1515389117" sldId="2147481994"/>
                <pc2:cmMk id="{742A9DA0-AA24-415E-8BD5-CDFFA4A2A1F1}"/>
              </pc2:cmMkLst>
            </pc226:cmChg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17:18.594" v="95"/>
              <pc2:cmMkLst xmlns:pc2="http://schemas.microsoft.com/office/powerpoint/2019/9/main/command">
                <pc:docMk/>
                <pc:sldMk cId="1515389117" sldId="2147481994"/>
                <pc2:cmMk id="{EAA9D2D7-C9AE-4186-A708-508CF5984D80}"/>
              </pc2:cmMkLst>
            </pc226:cmChg>
          </p:ext>
        </pc:extLst>
      </pc:sldChg>
      <pc:sldChg chg="modSp">
        <pc:chgData name="Jenalle Huang" userId="S::jenalle_huang@mckinsey.com::2cf21d77-d186-4a5f-a9ba-71fd767305aa" providerId="AD" clId="Web-{4A9EA149-F1B5-2C38-26D7-B75560FC73D2}" dt="2024-03-18T15:48:46.510" v="161" actId="20577"/>
        <pc:sldMkLst>
          <pc:docMk/>
          <pc:sldMk cId="3534594139" sldId="2147482000"/>
        </pc:sldMkLst>
        <pc:spChg chg="mod">
          <ac:chgData name="Jenalle Huang" userId="S::jenalle_huang@mckinsey.com::2cf21d77-d186-4a5f-a9ba-71fd767305aa" providerId="AD" clId="Web-{4A9EA149-F1B5-2C38-26D7-B75560FC73D2}" dt="2024-03-18T15:48:46.510" v="161" actId="20577"/>
          <ac:spMkLst>
            <pc:docMk/>
            <pc:sldMk cId="3534594139" sldId="2147482000"/>
            <ac:spMk id="4" creationId="{B7F049B9-5B55-2389-63EC-ECEBAE3E4E99}"/>
          </ac:spMkLst>
        </pc:spChg>
      </pc:sldChg>
      <pc:sldChg chg="modSp">
        <pc:chgData name="Jenalle Huang" userId="S::jenalle_huang@mckinsey.com::2cf21d77-d186-4a5f-a9ba-71fd767305aa" providerId="AD" clId="Web-{4A9EA149-F1B5-2C38-26D7-B75560FC73D2}" dt="2024-03-18T15:48:31.353" v="158" actId="20577"/>
        <pc:sldMkLst>
          <pc:docMk/>
          <pc:sldMk cId="1544683221" sldId="2147482002"/>
        </pc:sldMkLst>
        <pc:spChg chg="mod">
          <ac:chgData name="Jenalle Huang" userId="S::jenalle_huang@mckinsey.com::2cf21d77-d186-4a5f-a9ba-71fd767305aa" providerId="AD" clId="Web-{4A9EA149-F1B5-2C38-26D7-B75560FC73D2}" dt="2024-03-18T15:48:09.789" v="149" actId="20577"/>
          <ac:spMkLst>
            <pc:docMk/>
            <pc:sldMk cId="1544683221" sldId="2147482002"/>
            <ac:spMk id="21" creationId="{BE92F8F5-BFF9-7699-A944-DC19BFD6B4F1}"/>
          </ac:spMkLst>
        </pc:spChg>
        <pc:spChg chg="mod">
          <ac:chgData name="Jenalle Huang" userId="S::jenalle_huang@mckinsey.com::2cf21d77-d186-4a5f-a9ba-71fd767305aa" providerId="AD" clId="Web-{4A9EA149-F1B5-2C38-26D7-B75560FC73D2}" dt="2024-03-18T15:48:31.353" v="158" actId="20577"/>
          <ac:spMkLst>
            <pc:docMk/>
            <pc:sldMk cId="1544683221" sldId="2147482002"/>
            <ac:spMk id="25" creationId="{2E8D0A0B-9D5D-396E-8505-FDD81E7C0437}"/>
          </ac:spMkLst>
        </pc:spChg>
      </pc:sldChg>
      <pc:sldChg chg="modSp">
        <pc:chgData name="Jenalle Huang" userId="S::jenalle_huang@mckinsey.com::2cf21d77-d186-4a5f-a9ba-71fd767305aa" providerId="AD" clId="Web-{4A9EA149-F1B5-2C38-26D7-B75560FC73D2}" dt="2024-03-18T14:15:42.064" v="8" actId="20577"/>
        <pc:sldMkLst>
          <pc:docMk/>
          <pc:sldMk cId="4090608669" sldId="2147482010"/>
        </pc:sldMkLst>
        <pc:spChg chg="mod">
          <ac:chgData name="Jenalle Huang" userId="S::jenalle_huang@mckinsey.com::2cf21d77-d186-4a5f-a9ba-71fd767305aa" providerId="AD" clId="Web-{4A9EA149-F1B5-2C38-26D7-B75560FC73D2}" dt="2024-03-18T14:15:42.064" v="8" actId="20577"/>
          <ac:spMkLst>
            <pc:docMk/>
            <pc:sldMk cId="4090608669" sldId="2147482010"/>
            <ac:spMk id="17" creationId="{E93430B4-8AE4-54B3-1DB6-5C8CABDC7CF3}"/>
          </ac:spMkLst>
        </pc:spChg>
      </pc:sldChg>
      <pc:sldChg chg="modSp">
        <pc:chgData name="Jenalle Huang" userId="S::jenalle_huang@mckinsey.com::2cf21d77-d186-4a5f-a9ba-71fd767305aa" providerId="AD" clId="Web-{4A9EA149-F1B5-2C38-26D7-B75560FC73D2}" dt="2024-03-18T14:17:34.974" v="14" actId="1076"/>
        <pc:sldMkLst>
          <pc:docMk/>
          <pc:sldMk cId="2940159943" sldId="2147482011"/>
        </pc:sldMkLst>
        <pc:spChg chg="mod">
          <ac:chgData name="Jenalle Huang" userId="S::jenalle_huang@mckinsey.com::2cf21d77-d186-4a5f-a9ba-71fd767305aa" providerId="AD" clId="Web-{4A9EA149-F1B5-2C38-26D7-B75560FC73D2}" dt="2024-03-18T14:17:20.364" v="12" actId="20577"/>
          <ac:spMkLst>
            <pc:docMk/>
            <pc:sldMk cId="2940159943" sldId="2147482011"/>
            <ac:spMk id="17" creationId="{E93430B4-8AE4-54B3-1DB6-5C8CABDC7CF3}"/>
          </ac:spMkLst>
        </pc:spChg>
        <pc:grpChg chg="mod">
          <ac:chgData name="Jenalle Huang" userId="S::jenalle_huang@mckinsey.com::2cf21d77-d186-4a5f-a9ba-71fd767305aa" providerId="AD" clId="Web-{4A9EA149-F1B5-2C38-26D7-B75560FC73D2}" dt="2024-03-18T14:17:34.974" v="14" actId="1076"/>
          <ac:grpSpMkLst>
            <pc:docMk/>
            <pc:sldMk cId="2940159943" sldId="2147482011"/>
            <ac:grpSpMk id="46" creationId="{70541CF4-D2A4-37F7-F017-27FFE8D1D0EB}"/>
          </ac:grpSpMkLst>
        </pc:grpChg>
      </pc:sldChg>
      <pc:sldChg chg="modSp addCm">
        <pc:chgData name="Jenalle Huang" userId="S::jenalle_huang@mckinsey.com::2cf21d77-d186-4a5f-a9ba-71fd767305aa" providerId="AD" clId="Web-{4A9EA149-F1B5-2C38-26D7-B75560FC73D2}" dt="2024-03-18T15:11:55.831" v="90"/>
        <pc:sldMkLst>
          <pc:docMk/>
          <pc:sldMk cId="727379196" sldId="2147482013"/>
        </pc:sldMkLst>
        <pc:spChg chg="mod">
          <ac:chgData name="Jenalle Huang" userId="S::jenalle_huang@mckinsey.com::2cf21d77-d186-4a5f-a9ba-71fd767305aa" providerId="AD" clId="Web-{4A9EA149-F1B5-2C38-26D7-B75560FC73D2}" dt="2024-03-18T15:09:18.825" v="88" actId="20577"/>
          <ac:spMkLst>
            <pc:docMk/>
            <pc:sldMk cId="727379196" sldId="2147482013"/>
            <ac:spMk id="17" creationId="{E93430B4-8AE4-54B3-1DB6-5C8CABDC7CF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11:55.831" v="90"/>
              <pc2:cmMkLst xmlns:pc2="http://schemas.microsoft.com/office/powerpoint/2019/9/main/command">
                <pc:docMk/>
                <pc:sldMk cId="727379196" sldId="2147482013"/>
                <pc2:cmMk id="{EF21ADCE-C1EE-49BA-8C25-049870FFA0C1}"/>
              </pc2:cmMkLst>
            </pc226:cmChg>
          </p:ext>
        </pc:extLst>
      </pc:sldChg>
      <pc:sldChg chg="modSp">
        <pc:chgData name="Jenalle Huang" userId="S::jenalle_huang@mckinsey.com::2cf21d77-d186-4a5f-a9ba-71fd767305aa" providerId="AD" clId="Web-{4A9EA149-F1B5-2C38-26D7-B75560FC73D2}" dt="2024-03-18T15:20:22.585" v="124" actId="20577"/>
        <pc:sldMkLst>
          <pc:docMk/>
          <pc:sldMk cId="530289441" sldId="2147482014"/>
        </pc:sldMkLst>
        <pc:spChg chg="mod">
          <ac:chgData name="Jenalle Huang" userId="S::jenalle_huang@mckinsey.com::2cf21d77-d186-4a5f-a9ba-71fd767305aa" providerId="AD" clId="Web-{4A9EA149-F1B5-2C38-26D7-B75560FC73D2}" dt="2024-03-18T15:20:22.585" v="124" actId="20577"/>
          <ac:spMkLst>
            <pc:docMk/>
            <pc:sldMk cId="530289441" sldId="2147482014"/>
            <ac:spMk id="16" creationId="{E7E48DE2-497F-2E71-400D-947030854968}"/>
          </ac:spMkLst>
        </pc:spChg>
      </pc:sldChg>
      <pc:sldChg chg="modSp addCm">
        <pc:chgData name="Jenalle Huang" userId="S::jenalle_huang@mckinsey.com::2cf21d77-d186-4a5f-a9ba-71fd767305aa" providerId="AD" clId="Web-{4A9EA149-F1B5-2C38-26D7-B75560FC73D2}" dt="2024-03-18T15:52:01.642" v="164"/>
        <pc:sldMkLst>
          <pc:docMk/>
          <pc:sldMk cId="3308476308" sldId="2147482018"/>
        </pc:sldMkLst>
        <pc:spChg chg="mod">
          <ac:chgData name="Jenalle Huang" userId="S::jenalle_huang@mckinsey.com::2cf21d77-d186-4a5f-a9ba-71fd767305aa" providerId="AD" clId="Web-{4A9EA149-F1B5-2C38-26D7-B75560FC73D2}" dt="2024-03-18T15:42:18.979" v="129" actId="20577"/>
          <ac:spMkLst>
            <pc:docMk/>
            <pc:sldMk cId="3308476308" sldId="2147482018"/>
            <ac:spMk id="17" creationId="{E93430B4-8AE4-54B3-1DB6-5C8CABDC7CF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52:01.642" v="164"/>
              <pc2:cmMkLst xmlns:pc2="http://schemas.microsoft.com/office/powerpoint/2019/9/main/command">
                <pc:docMk/>
                <pc:sldMk cId="3308476308" sldId="2147482018"/>
                <pc2:cmMk id="{0F7FED6C-8950-42C8-B74C-A229702B48BB}"/>
              </pc2:cmMkLst>
            </pc226:cmChg>
          </p:ext>
        </pc:extLst>
      </pc:sldChg>
      <pc:sldChg chg="modSp addCm">
        <pc:chgData name="Jenalle Huang" userId="S::jenalle_huang@mckinsey.com::2cf21d77-d186-4a5f-a9ba-71fd767305aa" providerId="AD" clId="Web-{4A9EA149-F1B5-2C38-26D7-B75560FC73D2}" dt="2024-03-18T15:52:10.595" v="165"/>
        <pc:sldMkLst>
          <pc:docMk/>
          <pc:sldMk cId="2447205899" sldId="2147482019"/>
        </pc:sldMkLst>
        <pc:spChg chg="mod">
          <ac:chgData name="Jenalle Huang" userId="S::jenalle_huang@mckinsey.com::2cf21d77-d186-4a5f-a9ba-71fd767305aa" providerId="AD" clId="Web-{4A9EA149-F1B5-2C38-26D7-B75560FC73D2}" dt="2024-03-18T15:42:35.308" v="132" actId="20577"/>
          <ac:spMkLst>
            <pc:docMk/>
            <pc:sldMk cId="2447205899" sldId="2147482019"/>
            <ac:spMk id="17" creationId="{E93430B4-8AE4-54B3-1DB6-5C8CABDC7CF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enalle Huang" userId="S::jenalle_huang@mckinsey.com::2cf21d77-d186-4a5f-a9ba-71fd767305aa" providerId="AD" clId="Web-{4A9EA149-F1B5-2C38-26D7-B75560FC73D2}" dt="2024-03-18T15:52:10.595" v="165"/>
              <pc2:cmMkLst xmlns:pc2="http://schemas.microsoft.com/office/powerpoint/2019/9/main/command">
                <pc:docMk/>
                <pc:sldMk cId="2447205899" sldId="2147482019"/>
                <pc2:cmMk id="{0BD469D9-973C-4DF4-B317-4986A886FD7B}"/>
              </pc2:cmMkLst>
            </pc226:cmChg>
          </p:ext>
        </pc:extLst>
      </pc:sldChg>
      <pc:sldChg chg="modSp">
        <pc:chgData name="Jenalle Huang" userId="S::jenalle_huang@mckinsey.com::2cf21d77-d186-4a5f-a9ba-71fd767305aa" providerId="AD" clId="Web-{4A9EA149-F1B5-2C38-26D7-B75560FC73D2}" dt="2024-03-18T16:02:50.807" v="179" actId="20577"/>
        <pc:sldMkLst>
          <pc:docMk/>
          <pc:sldMk cId="3579555298" sldId="2147482023"/>
        </pc:sldMkLst>
        <pc:spChg chg="mod">
          <ac:chgData name="Jenalle Huang" userId="S::jenalle_huang@mckinsey.com::2cf21d77-d186-4a5f-a9ba-71fd767305aa" providerId="AD" clId="Web-{4A9EA149-F1B5-2C38-26D7-B75560FC73D2}" dt="2024-03-18T16:02:50.807" v="179" actId="20577"/>
          <ac:spMkLst>
            <pc:docMk/>
            <pc:sldMk cId="3579555298" sldId="2147482023"/>
            <ac:spMk id="17" creationId="{E93430B4-8AE4-54B3-1DB6-5C8CABDC7CF3}"/>
          </ac:spMkLst>
        </pc:spChg>
      </pc:sldChg>
    </pc:docChg>
  </pc:docChgLst>
  <pc:docChgLst>
    <pc:chgData name="Valentina Losada" userId="12c76205-c9be-43ad-bc33-b218726c6d59" providerId="ADAL" clId="{28E50768-478C-4042-A800-DB679B0DBCB6}"/>
    <pc:docChg chg="undo modSld">
      <pc:chgData name="Valentina Losada" userId="12c76205-c9be-43ad-bc33-b218726c6d59" providerId="ADAL" clId="{28E50768-478C-4042-A800-DB679B0DBCB6}" dt="2024-03-18T22:24:29.986" v="38"/>
      <pc:docMkLst>
        <pc:docMk/>
      </pc:docMkLst>
      <pc:sldChg chg="modSp mod">
        <pc:chgData name="Valentina Losada" userId="12c76205-c9be-43ad-bc33-b218726c6d59" providerId="ADAL" clId="{28E50768-478C-4042-A800-DB679B0DBCB6}" dt="2024-03-18T22:24:29.986" v="38"/>
        <pc:sldMkLst>
          <pc:docMk/>
          <pc:sldMk cId="2820581691" sldId="2147481965"/>
        </pc:sldMkLst>
        <pc:spChg chg="mod">
          <ac:chgData name="Valentina Losada" userId="12c76205-c9be-43ad-bc33-b218726c6d59" providerId="ADAL" clId="{28E50768-478C-4042-A800-DB679B0DBCB6}" dt="2024-03-18T22:24:29.986" v="38"/>
          <ac:spMkLst>
            <pc:docMk/>
            <pc:sldMk cId="2820581691" sldId="2147481965"/>
            <ac:spMk id="4" creationId="{BA84E4CF-863E-2BE7-5847-13FBFF6EB897}"/>
          </ac:spMkLst>
        </pc:spChg>
      </pc:sldChg>
      <pc:sldChg chg="modSp mod">
        <pc:chgData name="Valentina Losada" userId="12c76205-c9be-43ad-bc33-b218726c6d59" providerId="ADAL" clId="{28E50768-478C-4042-A800-DB679B0DBCB6}" dt="2024-03-18T22:13:59.096" v="36"/>
        <pc:sldMkLst>
          <pc:docMk/>
          <pc:sldMk cId="3983311566" sldId="2147481978"/>
        </pc:sldMkLst>
        <pc:spChg chg="mod">
          <ac:chgData name="Valentina Losada" userId="12c76205-c9be-43ad-bc33-b218726c6d59" providerId="ADAL" clId="{28E50768-478C-4042-A800-DB679B0DBCB6}" dt="2024-03-18T22:13:59.096" v="36"/>
          <ac:spMkLst>
            <pc:docMk/>
            <pc:sldMk cId="3983311566" sldId="2147481978"/>
            <ac:spMk id="4" creationId="{BA84E4CF-863E-2BE7-5847-13FBFF6EB897}"/>
          </ac:spMkLst>
        </pc:spChg>
      </pc:sldChg>
      <pc:sldChg chg="modSp mod">
        <pc:chgData name="Valentina Losada" userId="12c76205-c9be-43ad-bc33-b218726c6d59" providerId="ADAL" clId="{28E50768-478C-4042-A800-DB679B0DBCB6}" dt="2024-03-18T22:12:44.012" v="24" actId="20577"/>
        <pc:sldMkLst>
          <pc:docMk/>
          <pc:sldMk cId="3570921248" sldId="2147481980"/>
        </pc:sldMkLst>
        <pc:spChg chg="mod">
          <ac:chgData name="Valentina Losada" userId="12c76205-c9be-43ad-bc33-b218726c6d59" providerId="ADAL" clId="{28E50768-478C-4042-A800-DB679B0DBCB6}" dt="2024-03-18T22:12:44.012" v="24" actId="20577"/>
          <ac:spMkLst>
            <pc:docMk/>
            <pc:sldMk cId="3570921248" sldId="2147481980"/>
            <ac:spMk id="4" creationId="{BA84E4CF-863E-2BE7-5847-13FBFF6EB897}"/>
          </ac:spMkLst>
        </pc:spChg>
      </pc:sldChg>
      <pc:sldChg chg="modSp mod">
        <pc:chgData name="Valentina Losada" userId="12c76205-c9be-43ad-bc33-b218726c6d59" providerId="ADAL" clId="{28E50768-478C-4042-A800-DB679B0DBCB6}" dt="2024-03-18T22:12:51.891" v="25"/>
        <pc:sldMkLst>
          <pc:docMk/>
          <pc:sldMk cId="88650764" sldId="2147481981"/>
        </pc:sldMkLst>
        <pc:spChg chg="mod">
          <ac:chgData name="Valentina Losada" userId="12c76205-c9be-43ad-bc33-b218726c6d59" providerId="ADAL" clId="{28E50768-478C-4042-A800-DB679B0DBCB6}" dt="2024-03-18T22:12:51.891" v="25"/>
          <ac:spMkLst>
            <pc:docMk/>
            <pc:sldMk cId="88650764" sldId="2147481981"/>
            <ac:spMk id="8" creationId="{8A22082C-3279-49BC-C162-588A27AD2734}"/>
          </ac:spMkLst>
        </pc:spChg>
      </pc:sldChg>
      <pc:sldChg chg="modSp mod">
        <pc:chgData name="Valentina Losada" userId="12c76205-c9be-43ad-bc33-b218726c6d59" providerId="ADAL" clId="{28E50768-478C-4042-A800-DB679B0DBCB6}" dt="2024-03-18T22:12:58.279" v="26"/>
        <pc:sldMkLst>
          <pc:docMk/>
          <pc:sldMk cId="2528968086" sldId="2147482007"/>
        </pc:sldMkLst>
        <pc:spChg chg="mod">
          <ac:chgData name="Valentina Losada" userId="12c76205-c9be-43ad-bc33-b218726c6d59" providerId="ADAL" clId="{28E50768-478C-4042-A800-DB679B0DBCB6}" dt="2024-03-18T22:12:58.279" v="26"/>
          <ac:spMkLst>
            <pc:docMk/>
            <pc:sldMk cId="2528968086" sldId="2147482007"/>
            <ac:spMk id="2" creationId="{3FA790D5-ABEB-8A94-976F-183D0793C15D}"/>
          </ac:spMkLst>
        </pc:spChg>
      </pc:sldChg>
      <pc:sldChg chg="modSp mod">
        <pc:chgData name="Valentina Losada" userId="12c76205-c9be-43ad-bc33-b218726c6d59" providerId="ADAL" clId="{28E50768-478C-4042-A800-DB679B0DBCB6}" dt="2024-03-18T22:14:01.594" v="37"/>
        <pc:sldMkLst>
          <pc:docMk/>
          <pc:sldMk cId="3926142583" sldId="2147482021"/>
        </pc:sldMkLst>
        <pc:spChg chg="mod">
          <ac:chgData name="Valentina Losada" userId="12c76205-c9be-43ad-bc33-b218726c6d59" providerId="ADAL" clId="{28E50768-478C-4042-A800-DB679B0DBCB6}" dt="2024-03-18T22:14:01.594" v="37"/>
          <ac:spMkLst>
            <pc:docMk/>
            <pc:sldMk cId="3926142583" sldId="2147482021"/>
            <ac:spMk id="10" creationId="{1B80222C-B427-3AC0-3666-7D3A4E67DF01}"/>
          </ac:spMkLst>
        </pc:spChg>
      </pc:sldChg>
      <pc:sldChg chg="modSp mod">
        <pc:chgData name="Valentina Losada" userId="12c76205-c9be-43ad-bc33-b218726c6d59" providerId="ADAL" clId="{28E50768-478C-4042-A800-DB679B0DBCB6}" dt="2024-03-18T22:13:21.593" v="33" actId="20577"/>
        <pc:sldMkLst>
          <pc:docMk/>
          <pc:sldMk cId="4276543715" sldId="2147482022"/>
        </pc:sldMkLst>
        <pc:spChg chg="mod">
          <ac:chgData name="Valentina Losada" userId="12c76205-c9be-43ad-bc33-b218726c6d59" providerId="ADAL" clId="{28E50768-478C-4042-A800-DB679B0DBCB6}" dt="2024-03-18T22:12:26.537" v="14"/>
          <ac:spMkLst>
            <pc:docMk/>
            <pc:sldMk cId="4276543715" sldId="2147482022"/>
            <ac:spMk id="10" creationId="{B7ABC032-1800-47FA-AAFA-E99CEC2CAAC9}"/>
          </ac:spMkLst>
        </pc:spChg>
        <pc:spChg chg="mod">
          <ac:chgData name="Valentina Losada" userId="12c76205-c9be-43ad-bc33-b218726c6d59" providerId="ADAL" clId="{28E50768-478C-4042-A800-DB679B0DBCB6}" dt="2024-03-18T22:13:21.593" v="33" actId="20577"/>
          <ac:spMkLst>
            <pc:docMk/>
            <pc:sldMk cId="4276543715" sldId="2147482022"/>
            <ac:spMk id="17" creationId="{E93430B4-8AE4-54B3-1DB6-5C8CABDC7CF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8 May 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8 May 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8 May 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675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8 May 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536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8 May 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96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4.emf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3.svg"/><Relationship Id="rId5" Type="http://schemas.openxmlformats.org/officeDocument/2006/relationships/tags" Target="../tags/tag27.xml"/><Relationship Id="rId10" Type="http://schemas.openxmlformats.org/officeDocument/2006/relationships/image" Target="../media/image2.png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6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15.xml"/><Relationship Id="rId7" Type="http://schemas.openxmlformats.org/officeDocument/2006/relationships/image" Target="../media/image7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image" Target="../media/image4.emf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3.svg"/><Relationship Id="rId5" Type="http://schemas.openxmlformats.org/officeDocument/2006/relationships/tags" Target="../tags/tag141.xml"/><Relationship Id="rId10" Type="http://schemas.openxmlformats.org/officeDocument/2006/relationships/image" Target="../media/image2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10" Type="http://schemas.openxmlformats.org/officeDocument/2006/relationships/image" Target="../media/image1.emf"/><Relationship Id="rId4" Type="http://schemas.openxmlformats.org/officeDocument/2006/relationships/tags" Target="../tags/tag148.xml"/><Relationship Id="rId9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10" Type="http://schemas.openxmlformats.org/officeDocument/2006/relationships/image" Target="../media/image5.emf"/><Relationship Id="rId4" Type="http://schemas.openxmlformats.org/officeDocument/2006/relationships/tags" Target="../tags/tag169.xml"/><Relationship Id="rId9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image" Target="../media/image1.emf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image" Target="../media/image1.emf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8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9.emf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1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9.emf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1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9.emf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2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34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1.emf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3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0.xml"/><Relationship Id="rId9" Type="http://schemas.openxmlformats.org/officeDocument/2006/relationships/tags" Target="../tags/tag23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image" Target="../media/image1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9.xml"/><Relationship Id="rId9" Type="http://schemas.openxmlformats.org/officeDocument/2006/relationships/tags" Target="../tags/tag24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9.xml"/><Relationship Id="rId4" Type="http://schemas.openxmlformats.org/officeDocument/2006/relationships/tags" Target="../tags/tag24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56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79.xml"/><Relationship Id="rId7" Type="http://schemas.openxmlformats.org/officeDocument/2006/relationships/oleObject" Target="../embeddings/oleObject27.bin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81.xml"/><Relationship Id="rId4" Type="http://schemas.openxmlformats.org/officeDocument/2006/relationships/tags" Target="../tags/tag280.xml"/><Relationship Id="rId9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tags" Target="../tags/tag287.xml"/><Relationship Id="rId5" Type="http://schemas.openxmlformats.org/officeDocument/2006/relationships/tags" Target="../tags/tag286.xml"/><Relationship Id="rId10" Type="http://schemas.openxmlformats.org/officeDocument/2006/relationships/image" Target="../media/image1.emf"/><Relationship Id="rId4" Type="http://schemas.openxmlformats.org/officeDocument/2006/relationships/tags" Target="../tags/tag285.xml"/><Relationship Id="rId9" Type="http://schemas.openxmlformats.org/officeDocument/2006/relationships/oleObject" Target="../embeddings/oleObject28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29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5" Type="http://schemas.openxmlformats.org/officeDocument/2006/relationships/tags" Target="../tags/tag293.xml"/><Relationship Id="rId4" Type="http://schemas.openxmlformats.org/officeDocument/2006/relationships/tags" Target="../tags/tag292.xml"/><Relationship Id="rId9" Type="http://schemas.openxmlformats.org/officeDocument/2006/relationships/image" Target="../media/image9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29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tags" Target="../tags/tag300.xml"/><Relationship Id="rId5" Type="http://schemas.openxmlformats.org/officeDocument/2006/relationships/tags" Target="../tags/tag299.xml"/><Relationship Id="rId4" Type="http://schemas.openxmlformats.org/officeDocument/2006/relationships/tags" Target="../tags/tag298.xml"/><Relationship Id="rId9" Type="http://schemas.openxmlformats.org/officeDocument/2006/relationships/image" Target="../media/image9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tags" Target="../tags/tag30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6" Type="http://schemas.openxmlformats.org/officeDocument/2006/relationships/tags" Target="../tags/tag306.xml"/><Relationship Id="rId5" Type="http://schemas.openxmlformats.org/officeDocument/2006/relationships/tags" Target="../tags/tag305.xml"/><Relationship Id="rId4" Type="http://schemas.openxmlformats.org/officeDocument/2006/relationships/tags" Target="../tags/tag304.xml"/><Relationship Id="rId9" Type="http://schemas.openxmlformats.org/officeDocument/2006/relationships/image" Target="../media/image9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09.xml"/><Relationship Id="rId7" Type="http://schemas.openxmlformats.org/officeDocument/2006/relationships/tags" Target="../tags/tag313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6" Type="http://schemas.openxmlformats.org/officeDocument/2006/relationships/tags" Target="../tags/tag312.xml"/><Relationship Id="rId5" Type="http://schemas.openxmlformats.org/officeDocument/2006/relationships/tags" Target="../tags/tag311.xml"/><Relationship Id="rId10" Type="http://schemas.openxmlformats.org/officeDocument/2006/relationships/image" Target="../media/image9.emf"/><Relationship Id="rId4" Type="http://schemas.openxmlformats.org/officeDocument/2006/relationships/tags" Target="../tags/tag310.xml"/><Relationship Id="rId9" Type="http://schemas.openxmlformats.org/officeDocument/2006/relationships/oleObject" Target="../embeddings/oleObject32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21.xml"/><Relationship Id="rId3" Type="http://schemas.openxmlformats.org/officeDocument/2006/relationships/tags" Target="../tags/tag316.xml"/><Relationship Id="rId7" Type="http://schemas.openxmlformats.org/officeDocument/2006/relationships/tags" Target="../tags/tag320.xml"/><Relationship Id="rId12" Type="http://schemas.openxmlformats.org/officeDocument/2006/relationships/image" Target="../media/image10.png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tags" Target="../tags/tag319.xml"/><Relationship Id="rId11" Type="http://schemas.openxmlformats.org/officeDocument/2006/relationships/image" Target="../media/image1.emf"/><Relationship Id="rId5" Type="http://schemas.openxmlformats.org/officeDocument/2006/relationships/tags" Target="../tags/tag318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317.xml"/><Relationship Id="rId9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3" Type="http://schemas.openxmlformats.org/officeDocument/2006/relationships/tags" Target="../tags/tag324.xml"/><Relationship Id="rId7" Type="http://schemas.openxmlformats.org/officeDocument/2006/relationships/tags" Target="../tags/tag328.xml"/><Relationship Id="rId12" Type="http://schemas.openxmlformats.org/officeDocument/2006/relationships/image" Target="../media/image10.png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tags" Target="../tags/tag327.xml"/><Relationship Id="rId11" Type="http://schemas.openxmlformats.org/officeDocument/2006/relationships/image" Target="../media/image1.emf"/><Relationship Id="rId5" Type="http://schemas.openxmlformats.org/officeDocument/2006/relationships/tags" Target="../tags/tag326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325.xml"/><Relationship Id="rId9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37.xml"/><Relationship Id="rId3" Type="http://schemas.openxmlformats.org/officeDocument/2006/relationships/tags" Target="../tags/tag332.xml"/><Relationship Id="rId7" Type="http://schemas.openxmlformats.org/officeDocument/2006/relationships/tags" Target="../tags/tag336.xml"/><Relationship Id="rId12" Type="http://schemas.openxmlformats.org/officeDocument/2006/relationships/image" Target="../media/image10.png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6" Type="http://schemas.openxmlformats.org/officeDocument/2006/relationships/tags" Target="../tags/tag335.xml"/><Relationship Id="rId11" Type="http://schemas.openxmlformats.org/officeDocument/2006/relationships/image" Target="../media/image1.emf"/><Relationship Id="rId5" Type="http://schemas.openxmlformats.org/officeDocument/2006/relationships/tags" Target="../tags/tag334.xml"/><Relationship Id="rId10" Type="http://schemas.openxmlformats.org/officeDocument/2006/relationships/oleObject" Target="../embeddings/oleObject35.bin"/><Relationship Id="rId4" Type="http://schemas.openxmlformats.org/officeDocument/2006/relationships/tags" Target="../tags/tag333.xml"/><Relationship Id="rId9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45.xml"/><Relationship Id="rId3" Type="http://schemas.openxmlformats.org/officeDocument/2006/relationships/tags" Target="../tags/tag340.xml"/><Relationship Id="rId7" Type="http://schemas.openxmlformats.org/officeDocument/2006/relationships/tags" Target="../tags/tag344.xml"/><Relationship Id="rId12" Type="http://schemas.openxmlformats.org/officeDocument/2006/relationships/image" Target="../media/image10.png"/><Relationship Id="rId2" Type="http://schemas.openxmlformats.org/officeDocument/2006/relationships/tags" Target="../tags/tag339.xml"/><Relationship Id="rId1" Type="http://schemas.openxmlformats.org/officeDocument/2006/relationships/tags" Target="../tags/tag338.xml"/><Relationship Id="rId6" Type="http://schemas.openxmlformats.org/officeDocument/2006/relationships/tags" Target="../tags/tag343.xml"/><Relationship Id="rId11" Type="http://schemas.openxmlformats.org/officeDocument/2006/relationships/image" Target="../media/image6.emf"/><Relationship Id="rId5" Type="http://schemas.openxmlformats.org/officeDocument/2006/relationships/tags" Target="../tags/tag342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341.xml"/><Relationship Id="rId9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53.xml"/><Relationship Id="rId3" Type="http://schemas.openxmlformats.org/officeDocument/2006/relationships/tags" Target="../tags/tag348.xml"/><Relationship Id="rId7" Type="http://schemas.openxmlformats.org/officeDocument/2006/relationships/tags" Target="../tags/tag352.xml"/><Relationship Id="rId12" Type="http://schemas.openxmlformats.org/officeDocument/2006/relationships/image" Target="../media/image10.png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6" Type="http://schemas.openxmlformats.org/officeDocument/2006/relationships/tags" Target="../tags/tag351.xml"/><Relationship Id="rId11" Type="http://schemas.openxmlformats.org/officeDocument/2006/relationships/image" Target="../media/image1.emf"/><Relationship Id="rId5" Type="http://schemas.openxmlformats.org/officeDocument/2006/relationships/tags" Target="../tags/tag350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349.xml"/><Relationship Id="rId9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.bin"/><Relationship Id="rId3" Type="http://schemas.openxmlformats.org/officeDocument/2006/relationships/tags" Target="../tags/tag35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tags" Target="../tags/tag359.xml"/><Relationship Id="rId5" Type="http://schemas.openxmlformats.org/officeDocument/2006/relationships/tags" Target="../tags/tag358.xml"/><Relationship Id="rId10" Type="http://schemas.openxmlformats.org/officeDocument/2006/relationships/image" Target="../media/image10.png"/><Relationship Id="rId4" Type="http://schemas.openxmlformats.org/officeDocument/2006/relationships/tags" Target="../tags/tag357.xml"/><Relationship Id="rId9" Type="http://schemas.openxmlformats.org/officeDocument/2006/relationships/image" Target="../media/image9.emf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62.xml"/><Relationship Id="rId7" Type="http://schemas.openxmlformats.org/officeDocument/2006/relationships/image" Target="../media/image9.emf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6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366.xml"/><Relationship Id="rId7" Type="http://schemas.openxmlformats.org/officeDocument/2006/relationships/image" Target="../media/image10.png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374.xml"/><Relationship Id="rId13" Type="http://schemas.openxmlformats.org/officeDocument/2006/relationships/tags" Target="../tags/tag379.xml"/><Relationship Id="rId3" Type="http://schemas.openxmlformats.org/officeDocument/2006/relationships/tags" Target="../tags/tag369.xml"/><Relationship Id="rId7" Type="http://schemas.openxmlformats.org/officeDocument/2006/relationships/tags" Target="../tags/tag373.xml"/><Relationship Id="rId12" Type="http://schemas.openxmlformats.org/officeDocument/2006/relationships/tags" Target="../tags/tag378.xml"/><Relationship Id="rId17" Type="http://schemas.openxmlformats.org/officeDocument/2006/relationships/image" Target="../media/image1.emf"/><Relationship Id="rId2" Type="http://schemas.openxmlformats.org/officeDocument/2006/relationships/tags" Target="../tags/tag368.xml"/><Relationship Id="rId16" Type="http://schemas.openxmlformats.org/officeDocument/2006/relationships/oleObject" Target="../embeddings/oleObject41.bin"/><Relationship Id="rId1" Type="http://schemas.openxmlformats.org/officeDocument/2006/relationships/tags" Target="../tags/tag367.xml"/><Relationship Id="rId6" Type="http://schemas.openxmlformats.org/officeDocument/2006/relationships/tags" Target="../tags/tag372.xml"/><Relationship Id="rId11" Type="http://schemas.openxmlformats.org/officeDocument/2006/relationships/tags" Target="../tags/tag377.xml"/><Relationship Id="rId5" Type="http://schemas.openxmlformats.org/officeDocument/2006/relationships/tags" Target="../tags/tag371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76.xml"/><Relationship Id="rId4" Type="http://schemas.openxmlformats.org/officeDocument/2006/relationships/tags" Target="../tags/tag370.xml"/><Relationship Id="rId9" Type="http://schemas.openxmlformats.org/officeDocument/2006/relationships/tags" Target="../tags/tag375.xml"/><Relationship Id="rId14" Type="http://schemas.openxmlformats.org/officeDocument/2006/relationships/tags" Target="../tags/tag380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388.xml"/><Relationship Id="rId13" Type="http://schemas.microsoft.com/office/2007/relationships/hdphoto" Target="../media/hdphoto1.wdp"/><Relationship Id="rId3" Type="http://schemas.openxmlformats.org/officeDocument/2006/relationships/tags" Target="../tags/tag383.xml"/><Relationship Id="rId7" Type="http://schemas.openxmlformats.org/officeDocument/2006/relationships/tags" Target="../tags/tag387.xml"/><Relationship Id="rId12" Type="http://schemas.openxmlformats.org/officeDocument/2006/relationships/image" Target="../media/image11.png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tags" Target="../tags/tag386.xml"/><Relationship Id="rId11" Type="http://schemas.openxmlformats.org/officeDocument/2006/relationships/image" Target="../media/image1.emf"/><Relationship Id="rId5" Type="http://schemas.openxmlformats.org/officeDocument/2006/relationships/tags" Target="../tags/tag385.xml"/><Relationship Id="rId10" Type="http://schemas.openxmlformats.org/officeDocument/2006/relationships/oleObject" Target="../embeddings/oleObject42.bin"/><Relationship Id="rId4" Type="http://schemas.openxmlformats.org/officeDocument/2006/relationships/tags" Target="../tags/tag384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12.pn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396.xml"/><Relationship Id="rId13" Type="http://schemas.openxmlformats.org/officeDocument/2006/relationships/tags" Target="../tags/tag401.xml"/><Relationship Id="rId3" Type="http://schemas.openxmlformats.org/officeDocument/2006/relationships/tags" Target="../tags/tag391.xml"/><Relationship Id="rId7" Type="http://schemas.openxmlformats.org/officeDocument/2006/relationships/tags" Target="../tags/tag395.xml"/><Relationship Id="rId12" Type="http://schemas.openxmlformats.org/officeDocument/2006/relationships/tags" Target="../tags/tag400.xml"/><Relationship Id="rId2" Type="http://schemas.openxmlformats.org/officeDocument/2006/relationships/tags" Target="../tags/tag390.xml"/><Relationship Id="rId16" Type="http://schemas.openxmlformats.org/officeDocument/2006/relationships/image" Target="../media/image1.emf"/><Relationship Id="rId1" Type="http://schemas.openxmlformats.org/officeDocument/2006/relationships/tags" Target="../tags/tag389.xml"/><Relationship Id="rId6" Type="http://schemas.openxmlformats.org/officeDocument/2006/relationships/tags" Target="../tags/tag394.xml"/><Relationship Id="rId11" Type="http://schemas.openxmlformats.org/officeDocument/2006/relationships/tags" Target="../tags/tag399.xml"/><Relationship Id="rId5" Type="http://schemas.openxmlformats.org/officeDocument/2006/relationships/tags" Target="../tags/tag393.xml"/><Relationship Id="rId15" Type="http://schemas.openxmlformats.org/officeDocument/2006/relationships/oleObject" Target="../embeddings/oleObject43.bin"/><Relationship Id="rId10" Type="http://schemas.openxmlformats.org/officeDocument/2006/relationships/tags" Target="../tags/tag398.xml"/><Relationship Id="rId4" Type="http://schemas.openxmlformats.org/officeDocument/2006/relationships/tags" Target="../tags/tag392.xml"/><Relationship Id="rId9" Type="http://schemas.openxmlformats.org/officeDocument/2006/relationships/tags" Target="../tags/tag397.xml"/><Relationship Id="rId1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409.xml"/><Relationship Id="rId13" Type="http://schemas.microsoft.com/office/2007/relationships/hdphoto" Target="../media/hdphoto2.wdp"/><Relationship Id="rId3" Type="http://schemas.openxmlformats.org/officeDocument/2006/relationships/tags" Target="../tags/tag404.xml"/><Relationship Id="rId7" Type="http://schemas.openxmlformats.org/officeDocument/2006/relationships/tags" Target="../tags/tag408.xml"/><Relationship Id="rId12" Type="http://schemas.openxmlformats.org/officeDocument/2006/relationships/image" Target="../media/image13.png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6" Type="http://schemas.openxmlformats.org/officeDocument/2006/relationships/tags" Target="../tags/tag407.xml"/><Relationship Id="rId11" Type="http://schemas.openxmlformats.org/officeDocument/2006/relationships/image" Target="../media/image1.emf"/><Relationship Id="rId5" Type="http://schemas.openxmlformats.org/officeDocument/2006/relationships/tags" Target="../tags/tag406.xml"/><Relationship Id="rId10" Type="http://schemas.openxmlformats.org/officeDocument/2006/relationships/oleObject" Target="../embeddings/oleObject44.bin"/><Relationship Id="rId4" Type="http://schemas.openxmlformats.org/officeDocument/2006/relationships/tags" Target="../tags/tag405.xml"/><Relationship Id="rId9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417.xml"/><Relationship Id="rId13" Type="http://schemas.microsoft.com/office/2007/relationships/hdphoto" Target="../media/hdphoto2.wdp"/><Relationship Id="rId3" Type="http://schemas.openxmlformats.org/officeDocument/2006/relationships/tags" Target="../tags/tag412.xml"/><Relationship Id="rId7" Type="http://schemas.openxmlformats.org/officeDocument/2006/relationships/tags" Target="../tags/tag416.xml"/><Relationship Id="rId12" Type="http://schemas.openxmlformats.org/officeDocument/2006/relationships/image" Target="../media/image13.png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6" Type="http://schemas.openxmlformats.org/officeDocument/2006/relationships/tags" Target="../tags/tag415.xml"/><Relationship Id="rId11" Type="http://schemas.openxmlformats.org/officeDocument/2006/relationships/image" Target="../media/image9.emf"/><Relationship Id="rId5" Type="http://schemas.openxmlformats.org/officeDocument/2006/relationships/tags" Target="../tags/tag414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413.xml"/><Relationship Id="rId9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20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19.xml"/><Relationship Id="rId1" Type="http://schemas.openxmlformats.org/officeDocument/2006/relationships/tags" Target="../tags/tag41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22.xml"/><Relationship Id="rId4" Type="http://schemas.openxmlformats.org/officeDocument/2006/relationships/tags" Target="../tags/tag42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artnership">
            <a:extLst>
              <a:ext uri="{FF2B5EF4-FFF2-40B4-BE49-F238E27FC236}">
                <a16:creationId xmlns:a16="http://schemas.microsoft.com/office/drawing/2014/main" id="{2DB70230-A6B5-4979-8308-8CA8DA9D951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2322576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579851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83795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3" name="Partnership">
            <a:extLst>
              <a:ext uri="{FF2B5EF4-FFF2-40B4-BE49-F238E27FC236}">
                <a16:creationId xmlns:a16="http://schemas.microsoft.com/office/drawing/2014/main" id="{406BABA0-9DFC-49A9-8EAF-33E4D637F9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artnership">
            <a:extLst>
              <a:ext uri="{FF2B5EF4-FFF2-40B4-BE49-F238E27FC236}">
                <a16:creationId xmlns:a16="http://schemas.microsoft.com/office/drawing/2014/main" id="{81F7CCA8-F56A-4400-9CFC-D4344A1BA62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2322576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bg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bg2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7" name="LogoImage">
            <a:extLst>
              <a:ext uri="{FF2B5EF4-FFF2-40B4-BE49-F238E27FC236}">
                <a16:creationId xmlns:a16="http://schemas.microsoft.com/office/drawing/2014/main" id="{9AE2EE0E-5AF4-4323-B1E9-DD625EA361C1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E8A472B5-EC20-41F1-91D8-281D2B5D8D1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5153A5B-4B89-4D4A-96F0-F9AFF4E7D0F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6506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96470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7197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7294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2597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85615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5747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8553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807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87019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689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83792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8243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79495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60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98855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artnership">
            <a:extLst>
              <a:ext uri="{FF2B5EF4-FFF2-40B4-BE49-F238E27FC236}">
                <a16:creationId xmlns:a16="http://schemas.microsoft.com/office/drawing/2014/main" id="{5B679412-C01D-475C-80C6-930AD63EF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logoimage">
            <a:extLst>
              <a:ext uri="{FF2B5EF4-FFF2-40B4-BE49-F238E27FC236}">
                <a16:creationId xmlns:a16="http://schemas.microsoft.com/office/drawing/2014/main" id="{DB583B8C-7162-4D83-AA3D-B0A640125D9F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549271" y="481161"/>
            <a:ext cx="1893202" cy="585216"/>
            <a:chOff x="549271" y="481161"/>
            <a:chExt cx="1893202" cy="585216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49271" y="481161"/>
              <a:ext cx="1893202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49271" y="481408"/>
              <a:ext cx="1893202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97050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911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862204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444595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200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2994283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4C7959-29AC-4CFC-852C-38178A73DC7B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CFFB8F-A9C1-4A44-B46D-84CBB32DDEB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3666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33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5190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6750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4508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603710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013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95100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3321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068652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2986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771773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621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CCE3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290A3A-5DDA-4F96-AF64-2FAD0E774865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3DC3AB9-CCD3-4788-B469-B3509DF1F1C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5246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9610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CCE3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B9AF443-B18B-4A90-806B-881434C82BAB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ABA441D-7915-4AD2-9E10-790030044EF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5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27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CCE3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E1C514-3052-487B-9FC2-034F9711183C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01525CB-D137-48B9-B63B-6A484F715C8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7557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320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CCE3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F41A6F-ED3E-4618-A466-517E9BB9FB0C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76AFBC-FD04-493C-B435-D998C4D50FE5}"/>
              </a:ext>
            </a:extLst>
          </p:cNvPr>
          <p:cNvSpPr txBox="1"/>
          <p:nvPr userDrawn="1"/>
        </p:nvSpPr>
        <p:spPr>
          <a:xfrm>
            <a:off x="7876619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latin typeface="+mn-lt"/>
                <a:ea typeface="+mn-ea"/>
                <a:cs typeface="+mn-cs"/>
              </a:rPr>
              <a:t>CONFIDENTIAL FOR INTERNAL USE ONLY: Working Draft Subject to Review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7E24EA1-C110-4701-B51C-69AD2FEE87A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2204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554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CCE3E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436C3A5-2659-4DC3-9D92-18B81CE3AA9E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DDA03C-EEB6-4AEC-A8AA-5871983456B2}"/>
              </a:ext>
            </a:extLst>
          </p:cNvPr>
          <p:cNvSpPr txBox="1"/>
          <p:nvPr userDrawn="1"/>
        </p:nvSpPr>
        <p:spPr>
          <a:xfrm>
            <a:off x="7876619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latin typeface="+mn-lt"/>
                <a:ea typeface="+mn-ea"/>
                <a:cs typeface="+mn-cs"/>
              </a:rPr>
              <a:t>CONFIDENTIAL FOR INTERNAL USE ONLY: Working Draft Subject to Review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82882-FA3A-4F0E-99E5-CEC7C4262FA0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5605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1656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538165-B44C-40EB-A2D6-335604DB45AC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51D4BDA-0112-4477-81AD-CC720BADB9A2}"/>
              </a:ext>
            </a:extLst>
          </p:cNvPr>
          <p:cNvSpPr txBox="1"/>
          <p:nvPr userDrawn="1"/>
        </p:nvSpPr>
        <p:spPr>
          <a:xfrm>
            <a:off x="7876619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latin typeface="+mn-lt"/>
                <a:ea typeface="+mn-ea"/>
                <a:cs typeface="+mn-cs"/>
              </a:rPr>
              <a:t>CONFIDENTIAL FOR INTERNAL USE ONLY: Working Draft Subject to Review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7F7764-608F-4DEE-A027-FEC2BD49CE6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5872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0439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02E2B5-CBE9-4934-B634-1A562643E1CC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AF5524-A156-47A9-A0EA-49EC56F3E074}"/>
              </a:ext>
            </a:extLst>
          </p:cNvPr>
          <p:cNvSpPr txBox="1"/>
          <p:nvPr userDrawn="1"/>
        </p:nvSpPr>
        <p:spPr>
          <a:xfrm>
            <a:off x="7876619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latin typeface="+mn-lt"/>
                <a:ea typeface="+mn-ea"/>
                <a:cs typeface="+mn-cs"/>
              </a:rPr>
              <a:t>CONFIDENTIAL FOR INTERNAL USE ONLY: Working Draft Subject to Review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903D459-8B9C-4E65-AE89-39978717521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8967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454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0013C-5475-4CCC-B44D-9FE421F67921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65A4AB5-2004-4D33-A80A-6404D72291F2}"/>
              </a:ext>
            </a:extLst>
          </p:cNvPr>
          <p:cNvSpPr txBox="1"/>
          <p:nvPr userDrawn="1"/>
        </p:nvSpPr>
        <p:spPr>
          <a:xfrm>
            <a:off x="4215678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latin typeface="+mn-lt"/>
                <a:ea typeface="+mn-ea"/>
                <a:cs typeface="+mn-cs"/>
              </a:rPr>
              <a:t>CONFIDENTIAL FOR INTERNAL USE ONLY: Working Draft Subject to Review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846F66FE-6C4B-44F6-A177-6AE6FDD7BAA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2934244"/>
            <a:ext cx="11082528" cy="989512"/>
          </a:xfrm>
        </p:spPr>
        <p:txBody>
          <a:bodyPr vert="horz" anchor="ctr">
            <a:noAutofit/>
          </a:bodyPr>
          <a:lstStyle>
            <a:lvl1pPr algn="ctr" rtl="0">
              <a:defRPr sz="4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5C7BFE-7CA4-4B2A-9255-17B9AD3E4EB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2791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8932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709935" y="6499381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529171"/>
            <a:ext cx="5065776" cy="384721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4"/>
            </p:custDataLst>
          </p:nvPr>
        </p:nvSpPr>
        <p:spPr>
          <a:xfrm>
            <a:off x="554736" y="919250"/>
            <a:ext cx="5065776" cy="246221"/>
          </a:xfrm>
        </p:spPr>
        <p:txBody>
          <a:bodyPr anchor="ctr" anchorCtr="0"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677521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6867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63901"/>
            <a:ext cx="69677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236334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93893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5BFC3FE-91E4-4E26-9E4F-5E0E70F5EA54}"/>
              </a:ext>
            </a:extLst>
          </p:cNvPr>
          <p:cNvGrpSpPr/>
          <p:nvPr userDrawn="1"/>
        </p:nvGrpSpPr>
        <p:grpSpPr>
          <a:xfrm>
            <a:off x="10042790" y="412298"/>
            <a:ext cx="1578588" cy="687926"/>
            <a:chOff x="8448828" y="-288678"/>
            <a:chExt cx="3438372" cy="1498394"/>
          </a:xfrm>
        </p:grpSpPr>
        <p:pic>
          <p:nvPicPr>
            <p:cNvPr id="12" name="Picture 11" descr="COVID-19 Announcement from the Michigan Department of Labor ...">
              <a:extLst>
                <a:ext uri="{FF2B5EF4-FFF2-40B4-BE49-F238E27FC236}">
                  <a16:creationId xmlns:a16="http://schemas.microsoft.com/office/drawing/2014/main" id="{3EC1445D-6540-4C20-8EE2-4DB2EF26244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437" t="26315" r="4012" b="27131"/>
            <a:stretch/>
          </p:blipFill>
          <p:spPr bwMode="ltGray">
            <a:xfrm>
              <a:off x="9479678" y="40669"/>
              <a:ext cx="2407522" cy="824251"/>
            </a:xfrm>
            <a:custGeom>
              <a:avLst/>
              <a:gdLst>
                <a:gd name="connsiteX0" fmla="*/ 0 w 4377686"/>
                <a:gd name="connsiteY0" fmla="*/ 0 h 1498766"/>
                <a:gd name="connsiteX1" fmla="*/ 4377686 w 4377686"/>
                <a:gd name="connsiteY1" fmla="*/ 0 h 1498766"/>
                <a:gd name="connsiteX2" fmla="*/ 4377686 w 4377686"/>
                <a:gd name="connsiteY2" fmla="*/ 1498766 h 1498766"/>
                <a:gd name="connsiteX3" fmla="*/ 0 w 4377686"/>
                <a:gd name="connsiteY3" fmla="*/ 1498766 h 1498766"/>
                <a:gd name="connsiteX4" fmla="*/ 0 w 4377686"/>
                <a:gd name="connsiteY4" fmla="*/ 0 h 1498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77686" h="1498766">
                  <a:moveTo>
                    <a:pt x="0" y="0"/>
                  </a:moveTo>
                  <a:lnTo>
                    <a:pt x="4377686" y="0"/>
                  </a:lnTo>
                  <a:lnTo>
                    <a:pt x="4377686" y="1498766"/>
                  </a:lnTo>
                  <a:lnTo>
                    <a:pt x="0" y="1498766"/>
                  </a:lnTo>
                  <a:lnTo>
                    <a:pt x="0" y="0"/>
                  </a:ln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 descr="COVID-19 Announcement from the Michigan Department of Labor ...">
              <a:extLst>
                <a:ext uri="{FF2B5EF4-FFF2-40B4-BE49-F238E27FC236}">
                  <a16:creationId xmlns:a16="http://schemas.microsoft.com/office/drawing/2014/main" id="{A4A8D0B1-F939-46D8-A9B3-58E9F3BA498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98" t="7713" r="4012" b="7657"/>
            <a:stretch/>
          </p:blipFill>
          <p:spPr bwMode="ltGray">
            <a:xfrm>
              <a:off x="8448828" y="-288678"/>
              <a:ext cx="3438372" cy="1498394"/>
            </a:xfrm>
            <a:custGeom>
              <a:avLst/>
              <a:gdLst>
                <a:gd name="connsiteX0" fmla="*/ 0 w 6252118"/>
                <a:gd name="connsiteY0" fmla="*/ 0 h 2724584"/>
                <a:gd name="connsiteX1" fmla="*/ 6252118 w 6252118"/>
                <a:gd name="connsiteY1" fmla="*/ 0 h 2724584"/>
                <a:gd name="connsiteX2" fmla="*/ 6252118 w 6252118"/>
                <a:gd name="connsiteY2" fmla="*/ 598864 h 2724584"/>
                <a:gd name="connsiteX3" fmla="*/ 1874432 w 6252118"/>
                <a:gd name="connsiteY3" fmla="*/ 598864 h 2724584"/>
                <a:gd name="connsiteX4" fmla="*/ 1874432 w 6252118"/>
                <a:gd name="connsiteY4" fmla="*/ 2097630 h 2724584"/>
                <a:gd name="connsiteX5" fmla="*/ 6252118 w 6252118"/>
                <a:gd name="connsiteY5" fmla="*/ 2097630 h 2724584"/>
                <a:gd name="connsiteX6" fmla="*/ 6252118 w 6252118"/>
                <a:gd name="connsiteY6" fmla="*/ 2724584 h 2724584"/>
                <a:gd name="connsiteX7" fmla="*/ 0 w 6252118"/>
                <a:gd name="connsiteY7" fmla="*/ 2724584 h 2724584"/>
                <a:gd name="connsiteX8" fmla="*/ 0 w 6252118"/>
                <a:gd name="connsiteY8" fmla="*/ 0 h 2724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52118" h="2724584">
                  <a:moveTo>
                    <a:pt x="0" y="0"/>
                  </a:moveTo>
                  <a:lnTo>
                    <a:pt x="6252118" y="0"/>
                  </a:lnTo>
                  <a:lnTo>
                    <a:pt x="6252118" y="598864"/>
                  </a:lnTo>
                  <a:lnTo>
                    <a:pt x="1874432" y="598864"/>
                  </a:lnTo>
                  <a:lnTo>
                    <a:pt x="1874432" y="2097630"/>
                  </a:lnTo>
                  <a:lnTo>
                    <a:pt x="6252118" y="2097630"/>
                  </a:lnTo>
                  <a:lnTo>
                    <a:pt x="6252118" y="2724584"/>
                  </a:lnTo>
                  <a:lnTo>
                    <a:pt x="0" y="2724584"/>
                  </a:lnTo>
                  <a:lnTo>
                    <a:pt x="0" y="0"/>
                  </a:lnTo>
                  <a:close/>
                </a:path>
              </a:pathLst>
            </a:cu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B48EB9A3-F7B8-4A48-9F28-3D1C1986CA30}"/>
              </a:ext>
            </a:extLst>
          </p:cNvPr>
          <p:cNvSpPr txBox="1"/>
          <p:nvPr userDrawn="1"/>
        </p:nvSpPr>
        <p:spPr>
          <a:xfrm>
            <a:off x="319865" y="6702056"/>
            <a:ext cx="765048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/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/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/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/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/>
            </a:lvl9pPr>
          </a:lstStyle>
          <a:p>
            <a:r>
              <a:rPr lang="en-US" sz="8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2DC28D9-4243-4C14-9354-7EE43917557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77817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4813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044879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18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76C212-02AE-4B00-9CFA-7AE8EE81A37F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solidFill>
                  <a:schemeClr val="bg2"/>
                </a:solidFill>
                <a:latin typeface="+mn-lt"/>
                <a:ea typeface="+mn-ea"/>
                <a:cs typeface="+mn-cs"/>
              </a:rPr>
              <a:t>Document intended to provide insight based on currently available information for con</a:t>
            </a:r>
            <a:r>
              <a:rPr lang="en-US" sz="800" b="1" cap="all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deration and not specific advi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A96218-06AB-49FF-A784-36E34DF9792D}"/>
              </a:ext>
            </a:extLst>
          </p:cNvPr>
          <p:cNvSpPr txBox="1"/>
          <p:nvPr userDrawn="1"/>
        </p:nvSpPr>
        <p:spPr>
          <a:xfrm>
            <a:off x="7876619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latin typeface="+mn-lt"/>
                <a:ea typeface="+mn-ea"/>
                <a:cs typeface="+mn-cs"/>
              </a:rPr>
              <a:t>CONFIDENTIAL FOR INTERNAL USE ONLY: Working Draft Subject to Review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087448-20BD-4646-BD72-52BC6680A2C8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7831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9901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42D798-1DCF-494B-B77B-F21A4EAF4240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b="1" cap="all">
                <a:solidFill>
                  <a:schemeClr val="bg2"/>
                </a:solidFill>
                <a:latin typeface="+mn-lt"/>
                <a:ea typeface="+mn-ea"/>
                <a:cs typeface="+mn-cs"/>
              </a:rPr>
              <a:t>Document intended to provide insight based on currently available information for consideration and n</a:t>
            </a:r>
            <a:r>
              <a:rPr lang="en-US" sz="800" b="1" cap="all">
                <a:solidFill>
                  <a:schemeClr val="tx1"/>
                </a:solidFill>
                <a:latin typeface="+mn-lt"/>
                <a:ea typeface="+mn-ea"/>
                <a:cs typeface="+mn-cs"/>
              </a:rPr>
              <a:t>ot specific advi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449D56-3750-486B-A259-91FCECCF711A}"/>
              </a:ext>
            </a:extLst>
          </p:cNvPr>
          <p:cNvSpPr txBox="1"/>
          <p:nvPr userDrawn="1"/>
        </p:nvSpPr>
        <p:spPr>
          <a:xfrm>
            <a:off x="7876619" y="41597"/>
            <a:ext cx="376064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>
                <a:solidFill>
                  <a:schemeClr val="bg2"/>
                </a:solidFill>
                <a:latin typeface="+mn-lt"/>
                <a:ea typeface="+mn-ea"/>
                <a:cs typeface="+mn-cs"/>
              </a:rPr>
              <a:t>CONFIDENTIAL FO</a:t>
            </a:r>
            <a:r>
              <a:rPr lang="en-US" sz="800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 INTERNAL USE ONLY: Working Draft Subject to Review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D645E9D-455B-42CB-A0DD-8E3EC054177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77725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A1C0D3-6447-79AB-756B-F27FCB3987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1494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A1C0D3-6447-79AB-756B-F27FCB3987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734664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478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8990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98664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oleObject" Target="../embeddings/oleObject12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tags" Target="../tags/tag261.xml"/><Relationship Id="rId39" Type="http://schemas.openxmlformats.org/officeDocument/2006/relationships/tags" Target="../tags/tag274.xml"/><Relationship Id="rId21" Type="http://schemas.openxmlformats.org/officeDocument/2006/relationships/theme" Target="../theme/theme3.xml"/><Relationship Id="rId34" Type="http://schemas.openxmlformats.org/officeDocument/2006/relationships/tags" Target="../tags/tag269.xml"/><Relationship Id="rId42" Type="http://schemas.openxmlformats.org/officeDocument/2006/relationships/oleObject" Target="../embeddings/oleObject26.bin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tags" Target="../tags/tag264.xml"/><Relationship Id="rId41" Type="http://schemas.openxmlformats.org/officeDocument/2006/relationships/tags" Target="../tags/tag276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tags" Target="../tags/tag259.xml"/><Relationship Id="rId32" Type="http://schemas.openxmlformats.org/officeDocument/2006/relationships/tags" Target="../tags/tag267.xml"/><Relationship Id="rId37" Type="http://schemas.openxmlformats.org/officeDocument/2006/relationships/tags" Target="../tags/tag272.xml"/><Relationship Id="rId40" Type="http://schemas.openxmlformats.org/officeDocument/2006/relationships/tags" Target="../tags/tag275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tags" Target="../tags/tag258.xml"/><Relationship Id="rId28" Type="http://schemas.openxmlformats.org/officeDocument/2006/relationships/tags" Target="../tags/tag263.xml"/><Relationship Id="rId36" Type="http://schemas.openxmlformats.org/officeDocument/2006/relationships/tags" Target="../tags/tag271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tags" Target="../tags/tag266.xml"/><Relationship Id="rId44" Type="http://schemas.openxmlformats.org/officeDocument/2006/relationships/image" Target="../media/image10.png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tags" Target="../tags/tag257.xml"/><Relationship Id="rId27" Type="http://schemas.openxmlformats.org/officeDocument/2006/relationships/tags" Target="../tags/tag262.xml"/><Relationship Id="rId30" Type="http://schemas.openxmlformats.org/officeDocument/2006/relationships/tags" Target="../tags/tag265.xml"/><Relationship Id="rId35" Type="http://schemas.openxmlformats.org/officeDocument/2006/relationships/tags" Target="../tags/tag270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tags" Target="../tags/tag260.xml"/><Relationship Id="rId33" Type="http://schemas.openxmlformats.org/officeDocument/2006/relationships/tags" Target="../tags/tag268.xml"/><Relationship Id="rId38" Type="http://schemas.openxmlformats.org/officeDocument/2006/relationships/tags" Target="../tags/tag2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58031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A74D0957-B8E1-0203-5942-B3CDCECEFC07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A579D789-E781-7373-9902-2ED2044F84A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AE219666-526F-9C6F-0799-DEDE1ED7C6B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22CE313E-44F3-0F57-9118-789F5A7E4BE2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D0B5E1D7-1CD7-D84F-3620-B4FA0EF324DB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F40C396B-7721-8A80-0BC4-C8F93B6E54CA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D19BD4EA-9682-50D3-B979-152445E49E10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A0B6C31-1F56-F41C-44CD-9D5FBF4D034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Arc 24" hidden="1">
                <a:extLst>
                  <a:ext uri="{FF2B5EF4-FFF2-40B4-BE49-F238E27FC236}">
                    <a16:creationId xmlns:a16="http://schemas.microsoft.com/office/drawing/2014/main" id="{B50CF1FE-8D31-700D-F0C2-ACB607372AE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E34FB525-F2A2-061A-A353-799809BF5FC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DC6EA1B-42E3-0F8A-87FD-05CAF1FDA5F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49961EB-4044-DDFA-0CF7-F5D66FDD64F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81D58525-2DB4-58E3-4841-2B88C4F9BBE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D052903-9CD8-AB5E-E69F-03405F84882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BB370F7E-886E-6962-667A-24DD8C636B1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12DC2918-BD74-B2EB-0BB2-D46E7084496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8309338-2E0C-8EAB-278B-36BB84E8955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8AA2C47-9903-4C18-8098-1106BE8B197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85016F10-0401-6973-A0D0-23D227FF8FED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8041A10-C91C-7EF2-F7EA-D1D0412188C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B1A7ADC8-55DF-963B-3C8A-AAB44F2EF67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79" r:id="rId12"/>
    <p:sldLayoutId id="2147483706" r:id="rId13"/>
    <p:sldLayoutId id="2147483718" r:id="rId14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175072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78CA310D-6D76-F64D-43BD-A9F8058D0B83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5EB4C1BD-D02B-BD12-5727-6F58C39BD4C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760D5CA7-F2EA-45CF-81C8-C3EDA5FA395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EB43A491-1FC0-C08D-DC0F-9312F78D3BB5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41DC0170-C64F-96F4-DD57-F6BBE781B8CA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7E1C2B9C-8B0A-AC6B-B386-E28E8F253128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C1E862B0-BA6B-93BC-31CC-9EDF1CA824B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34A84F48-2944-98CC-156D-EC5FA62990B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Arc 23" hidden="1">
                <a:extLst>
                  <a:ext uri="{FF2B5EF4-FFF2-40B4-BE49-F238E27FC236}">
                    <a16:creationId xmlns:a16="http://schemas.microsoft.com/office/drawing/2014/main" id="{49AE9D7C-3BC5-C5DD-0AFA-71D915D9D8D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3623EFE0-7A55-35A0-763D-A7CCEABC576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A3B4311-025C-426B-9E06-BDDA476EF4A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Arc 21">
                <a:extLst>
                  <a:ext uri="{FF2B5EF4-FFF2-40B4-BE49-F238E27FC236}">
                    <a16:creationId xmlns:a16="http://schemas.microsoft.com/office/drawing/2014/main" id="{9ABB8959-417A-20E2-3BFB-820D653F8B1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7A7E4CBF-9B94-C8D7-EF8F-9662FD33055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5A66490-5468-AC46-5ED5-E8212992AFC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Arc 19">
                <a:extLst>
                  <a:ext uri="{FF2B5EF4-FFF2-40B4-BE49-F238E27FC236}">
                    <a16:creationId xmlns:a16="http://schemas.microsoft.com/office/drawing/2014/main" id="{2164DC02-AF00-DEB2-344B-46D05BDC286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37ACCC41-9C6B-7C20-5C62-B34B467FA71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4731651-049D-FD74-10A9-3B77CDA9C26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5AADA01A-6C4E-7E32-6930-9C7BE1CCCDF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E9C1FE7B-027B-2A18-4D77-A6B6DC1EDC9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25520F20-D7D9-7F64-BF4E-B26721F00E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1AC3D5E5-FFBA-7695-4382-807739B76632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80" r:id="rId15"/>
    <p:sldLayoutId id="2147483877" r:id="rId16"/>
    <p:sldLayoutId id="2147483899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429157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13" imgH="416" progId="TCLayout.ActiveDocument.1">
                  <p:embed/>
                </p:oleObj>
              </mc:Choice>
              <mc:Fallback>
                <p:oleObj name="think-cell Slide" r:id="rId4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3" name="Picture 152">
            <a:extLst>
              <a:ext uri="{FF2B5EF4-FFF2-40B4-BE49-F238E27FC236}">
                <a16:creationId xmlns:a16="http://schemas.microsoft.com/office/drawing/2014/main" id="{57F927C6-FFCD-40E7-8EA9-255428A2861D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9584040" y="6412684"/>
            <a:ext cx="1670449" cy="329213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+mn-lt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4736" y="6357056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519011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Above Chart Exhibit Title</a:t>
            </a:r>
          </a:p>
          <a:p>
            <a:pPr lvl="0"/>
            <a:r>
              <a:rPr lang="en-US" b="0">
                <a:latin typeface="+mn-lt"/>
                <a:ea typeface="+mn-ea"/>
                <a:cs typeface="+mn-cs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A4FE2361-E2E1-41CB-8BCE-908F14957526}"/>
              </a:ext>
            </a:extLst>
          </p:cNvPr>
          <p:cNvSpPr txBox="1"/>
          <p:nvPr userDrawn="1"/>
        </p:nvSpPr>
        <p:spPr>
          <a:xfrm>
            <a:off x="2365812" y="6686070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800" b="1" cap="all">
                <a:latin typeface="+mn-lt"/>
                <a:ea typeface="+mn-ea"/>
                <a:cs typeface="+mn-cs"/>
              </a:rPr>
              <a:t>Document intended to provide insight based on currently available information for consideration and not specific advice</a:t>
            </a:r>
          </a:p>
        </p:txBody>
      </p:sp>
      <p:grpSp>
        <p:nvGrpSpPr>
          <p:cNvPr id="150" name="LegendLines" hidden="1">
            <a:extLst>
              <a:ext uri="{FF2B5EF4-FFF2-40B4-BE49-F238E27FC236}">
                <a16:creationId xmlns:a16="http://schemas.microsoft.com/office/drawing/2014/main" id="{72297B01-1C3A-4D47-998C-8F9D273DF800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51" name="Legend1" hidden="1">
              <a:extLst>
                <a:ext uri="{FF2B5EF4-FFF2-40B4-BE49-F238E27FC236}">
                  <a16:creationId xmlns:a16="http://schemas.microsoft.com/office/drawing/2014/main" id="{17334C99-A6D7-4FB7-818D-35CFF914848B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2" name="Legend2" hidden="1">
              <a:extLst>
                <a:ext uri="{FF2B5EF4-FFF2-40B4-BE49-F238E27FC236}">
                  <a16:creationId xmlns:a16="http://schemas.microsoft.com/office/drawing/2014/main" id="{49A69C00-9671-4C5B-A92C-2DA65B6D9C72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5E8F2462-8419-4BAF-93C0-C24FFD0F49C1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55" name="LineLegend3" hidden="1">
              <a:extLst>
                <a:ext uri="{FF2B5EF4-FFF2-40B4-BE49-F238E27FC236}">
                  <a16:creationId xmlns:a16="http://schemas.microsoft.com/office/drawing/2014/main" id="{BF9CBA64-3D95-4902-9676-21285C542DF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6" name="LineLegend2" hidden="1">
              <a:extLst>
                <a:ext uri="{FF2B5EF4-FFF2-40B4-BE49-F238E27FC236}">
                  <a16:creationId xmlns:a16="http://schemas.microsoft.com/office/drawing/2014/main" id="{6195CBFD-6856-4510-8245-D8ECEBB4119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7" name="LineLegend1" hidden="1">
              <a:extLst>
                <a:ext uri="{FF2B5EF4-FFF2-40B4-BE49-F238E27FC236}">
                  <a16:creationId xmlns:a16="http://schemas.microsoft.com/office/drawing/2014/main" id="{4B8CFFB7-C4EE-4D23-880D-4EF490EB2EE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58" name="LegendMoons" hidden="1">
            <a:extLst>
              <a:ext uri="{FF2B5EF4-FFF2-40B4-BE49-F238E27FC236}">
                <a16:creationId xmlns:a16="http://schemas.microsoft.com/office/drawing/2014/main" id="{5AC59863-83B4-404C-8C1E-B5F4A9CCA40B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59" name="Legend1" hidden="1">
              <a:extLst>
                <a:ext uri="{FF2B5EF4-FFF2-40B4-BE49-F238E27FC236}">
                  <a16:creationId xmlns:a16="http://schemas.microsoft.com/office/drawing/2014/main" id="{A8DB9AEA-0FB5-4276-BE74-5525518A92DA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0" name="Legend2" hidden="1">
              <a:extLst>
                <a:ext uri="{FF2B5EF4-FFF2-40B4-BE49-F238E27FC236}">
                  <a16:creationId xmlns:a16="http://schemas.microsoft.com/office/drawing/2014/main" id="{393DFF27-65E1-43A3-BCDC-0F4633F97075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1" name="Legend3" hidden="1">
              <a:extLst>
                <a:ext uri="{FF2B5EF4-FFF2-40B4-BE49-F238E27FC236}">
                  <a16:creationId xmlns:a16="http://schemas.microsoft.com/office/drawing/2014/main" id="{DCC9C7AF-5A4F-4D84-9523-C128355A12C1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2" name="Legend4" hidden="1">
              <a:extLst>
                <a:ext uri="{FF2B5EF4-FFF2-40B4-BE49-F238E27FC236}">
                  <a16:creationId xmlns:a16="http://schemas.microsoft.com/office/drawing/2014/main" id="{ADD0C11F-1299-4FCD-9994-EDC37BF93C97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63" name="Legend5" hidden="1">
              <a:extLst>
                <a:ext uri="{FF2B5EF4-FFF2-40B4-BE49-F238E27FC236}">
                  <a16:creationId xmlns:a16="http://schemas.microsoft.com/office/drawing/2014/main" id="{89410099-065D-42E5-B5BC-2B52D23CB520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164" name="MoonLegend1" hidden="1">
              <a:extLst>
                <a:ext uri="{FF2B5EF4-FFF2-40B4-BE49-F238E27FC236}">
                  <a16:creationId xmlns:a16="http://schemas.microsoft.com/office/drawing/2014/main" id="{3E7978B4-0301-4747-BE9E-13466DE7761B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8" name="Oval 187" hidden="1">
                <a:extLst>
                  <a:ext uri="{FF2B5EF4-FFF2-40B4-BE49-F238E27FC236}">
                    <a16:creationId xmlns:a16="http://schemas.microsoft.com/office/drawing/2014/main" id="{A097FBE4-65B6-405D-BAAC-890C12323E44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9" name="Arc 188" hidden="1">
                <a:extLst>
                  <a:ext uri="{FF2B5EF4-FFF2-40B4-BE49-F238E27FC236}">
                    <a16:creationId xmlns:a16="http://schemas.microsoft.com/office/drawing/2014/main" id="{908F9BB9-ED25-492C-85C6-452AA7139AA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165" name="MoonLegend2" hidden="1">
              <a:extLst>
                <a:ext uri="{FF2B5EF4-FFF2-40B4-BE49-F238E27FC236}">
                  <a16:creationId xmlns:a16="http://schemas.microsoft.com/office/drawing/2014/main" id="{78022CBC-78C6-4E65-9902-5E367C9BE199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5" name="Oval 184" hidden="1">
                <a:extLst>
                  <a:ext uri="{FF2B5EF4-FFF2-40B4-BE49-F238E27FC236}">
                    <a16:creationId xmlns:a16="http://schemas.microsoft.com/office/drawing/2014/main" id="{8E97E61F-A6B9-4F83-B70A-11C8CA0BC3A3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7" name="Arc 186" hidden="1">
                <a:extLst>
                  <a:ext uri="{FF2B5EF4-FFF2-40B4-BE49-F238E27FC236}">
                    <a16:creationId xmlns:a16="http://schemas.microsoft.com/office/drawing/2014/main" id="{FBEA236D-E91E-4909-B099-90D5D8B7E01A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166" name="MoonLegend3" hidden="1">
              <a:extLst>
                <a:ext uri="{FF2B5EF4-FFF2-40B4-BE49-F238E27FC236}">
                  <a16:creationId xmlns:a16="http://schemas.microsoft.com/office/drawing/2014/main" id="{1F3B2187-1D67-47DE-B724-3EDA17C919E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 hidden="1">
                <a:extLst>
                  <a:ext uri="{FF2B5EF4-FFF2-40B4-BE49-F238E27FC236}">
                    <a16:creationId xmlns:a16="http://schemas.microsoft.com/office/drawing/2014/main" id="{17E510E8-E6B0-483D-AA0B-BACF7D4B696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4" name="Arc 183" hidden="1">
                <a:extLst>
                  <a:ext uri="{FF2B5EF4-FFF2-40B4-BE49-F238E27FC236}">
                    <a16:creationId xmlns:a16="http://schemas.microsoft.com/office/drawing/2014/main" id="{DCC7959B-FDAF-4C56-89ED-25EF8E3EFF8C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167" name="MoonLegend4" hidden="1">
              <a:extLst>
                <a:ext uri="{FF2B5EF4-FFF2-40B4-BE49-F238E27FC236}">
                  <a16:creationId xmlns:a16="http://schemas.microsoft.com/office/drawing/2014/main" id="{02DEC345-50F3-4AB4-A148-97ECE4294F1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 hidden="1">
                <a:extLst>
                  <a:ext uri="{FF2B5EF4-FFF2-40B4-BE49-F238E27FC236}">
                    <a16:creationId xmlns:a16="http://schemas.microsoft.com/office/drawing/2014/main" id="{04832C77-A09F-49F3-9884-67DE2DF411B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2" name="Arc 181" hidden="1">
                <a:extLst>
                  <a:ext uri="{FF2B5EF4-FFF2-40B4-BE49-F238E27FC236}">
                    <a16:creationId xmlns:a16="http://schemas.microsoft.com/office/drawing/2014/main" id="{45F463C8-1145-4DAA-95D0-261645CB8AB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168" name="MoonLegend5" hidden="1">
              <a:extLst>
                <a:ext uri="{FF2B5EF4-FFF2-40B4-BE49-F238E27FC236}">
                  <a16:creationId xmlns:a16="http://schemas.microsoft.com/office/drawing/2014/main" id="{DB62630B-3B45-48B0-BC0F-D1AAA34BB885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79" name="Oval 178" hidden="1">
                <a:extLst>
                  <a:ext uri="{FF2B5EF4-FFF2-40B4-BE49-F238E27FC236}">
                    <a16:creationId xmlns:a16="http://schemas.microsoft.com/office/drawing/2014/main" id="{6BAC342C-DB85-4D9C-B5A4-D9DF31D248A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80" name="Arc 179" hidden="1">
                <a:extLst>
                  <a:ext uri="{FF2B5EF4-FFF2-40B4-BE49-F238E27FC236}">
                    <a16:creationId xmlns:a16="http://schemas.microsoft.com/office/drawing/2014/main" id="{14EDD296-636E-4DB2-83E2-A078A6820813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+mn-l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90" name="LegendBoxes" hidden="1">
            <a:extLst>
              <a:ext uri="{FF2B5EF4-FFF2-40B4-BE49-F238E27FC236}">
                <a16:creationId xmlns:a16="http://schemas.microsoft.com/office/drawing/2014/main" id="{F1E56480-F214-4C43-8B33-7A64F8729F30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191" name="RectangleLegend1" hidden="1">
              <a:extLst>
                <a:ext uri="{FF2B5EF4-FFF2-40B4-BE49-F238E27FC236}">
                  <a16:creationId xmlns:a16="http://schemas.microsoft.com/office/drawing/2014/main" id="{ED3F747A-926E-41D5-BC28-9636F478E18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2" name="RectangleLegend2" hidden="1">
              <a:extLst>
                <a:ext uri="{FF2B5EF4-FFF2-40B4-BE49-F238E27FC236}">
                  <a16:creationId xmlns:a16="http://schemas.microsoft.com/office/drawing/2014/main" id="{EFE98F5E-ACE5-4D8E-A654-390F1DDF7E3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3" name="RectangleLegend3" hidden="1">
              <a:extLst>
                <a:ext uri="{FF2B5EF4-FFF2-40B4-BE49-F238E27FC236}">
                  <a16:creationId xmlns:a16="http://schemas.microsoft.com/office/drawing/2014/main" id="{EF3EA70D-A726-44A6-8DB3-2E86D8BFF6F7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4" name="RectangleLegend4" hidden="1">
              <a:extLst>
                <a:ext uri="{FF2B5EF4-FFF2-40B4-BE49-F238E27FC236}">
                  <a16:creationId xmlns:a16="http://schemas.microsoft.com/office/drawing/2014/main" id="{6902764E-E18D-4F68-86E8-D00D10102D2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5" name="RectangleLegend5" hidden="1">
              <a:extLst>
                <a:ext uri="{FF2B5EF4-FFF2-40B4-BE49-F238E27FC236}">
                  <a16:creationId xmlns:a16="http://schemas.microsoft.com/office/drawing/2014/main" id="{B5AC1A35-CBD9-465E-9A20-3FBAB162ED3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6" name="Legend1" hidden="1">
              <a:extLst>
                <a:ext uri="{FF2B5EF4-FFF2-40B4-BE49-F238E27FC236}">
                  <a16:creationId xmlns:a16="http://schemas.microsoft.com/office/drawing/2014/main" id="{AB94EE34-35D1-410F-875D-C5AFFFC9F385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7" name="Legend2" hidden="1">
              <a:extLst>
                <a:ext uri="{FF2B5EF4-FFF2-40B4-BE49-F238E27FC236}">
                  <a16:creationId xmlns:a16="http://schemas.microsoft.com/office/drawing/2014/main" id="{869B1315-B760-4AB5-80CE-FEA992D42F54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7" name="Legend3" hidden="1">
              <a:extLst>
                <a:ext uri="{FF2B5EF4-FFF2-40B4-BE49-F238E27FC236}">
                  <a16:creationId xmlns:a16="http://schemas.microsoft.com/office/drawing/2014/main" id="{230C3462-7DE2-44F8-96C2-178C40E5A7FC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8" name="Legend4" hidden="1">
              <a:extLst>
                <a:ext uri="{FF2B5EF4-FFF2-40B4-BE49-F238E27FC236}">
                  <a16:creationId xmlns:a16="http://schemas.microsoft.com/office/drawing/2014/main" id="{6998DD4A-D659-4BF6-BF6F-15A79124C3B2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9" name="Legend5" hidden="1">
              <a:extLst>
                <a:ext uri="{FF2B5EF4-FFF2-40B4-BE49-F238E27FC236}">
                  <a16:creationId xmlns:a16="http://schemas.microsoft.com/office/drawing/2014/main" id="{00925F77-0E88-4B2D-A15D-E53EFA75E6E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+mn-lt"/>
                  <a:ea typeface="+mn-ea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72410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  <p:sldLayoutId id="2147483914" r:id="rId14"/>
    <p:sldLayoutId id="2147483915" r:id="rId15"/>
    <p:sldLayoutId id="2147483916" r:id="rId16"/>
    <p:sldLayoutId id="2147483917" r:id="rId17"/>
    <p:sldLayoutId id="2147483918" r:id="rId18"/>
    <p:sldLayoutId id="2147483919" r:id="rId19"/>
    <p:sldLayoutId id="2147483920" r:id="rId2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7.bin"/><Relationship Id="rId13" Type="http://schemas.openxmlformats.org/officeDocument/2006/relationships/image" Target="../media/image17.png"/><Relationship Id="rId3" Type="http://schemas.openxmlformats.org/officeDocument/2006/relationships/tags" Target="../tags/tag425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16.svg"/><Relationship Id="rId2" Type="http://schemas.openxmlformats.org/officeDocument/2006/relationships/tags" Target="../tags/tag424.xml"/><Relationship Id="rId1" Type="http://schemas.openxmlformats.org/officeDocument/2006/relationships/tags" Target="../tags/tag423.xml"/><Relationship Id="rId6" Type="http://schemas.openxmlformats.org/officeDocument/2006/relationships/tags" Target="../tags/tag428.xml"/><Relationship Id="rId11" Type="http://schemas.openxmlformats.org/officeDocument/2006/relationships/image" Target="../media/image15.png"/><Relationship Id="rId5" Type="http://schemas.openxmlformats.org/officeDocument/2006/relationships/tags" Target="../tags/tag427.xml"/><Relationship Id="rId15" Type="http://schemas.openxmlformats.org/officeDocument/2006/relationships/image" Target="../media/image19.jpeg"/><Relationship Id="rId10" Type="http://schemas.openxmlformats.org/officeDocument/2006/relationships/image" Target="../media/image10.png"/><Relationship Id="rId4" Type="http://schemas.openxmlformats.org/officeDocument/2006/relationships/tags" Target="../tags/tag426.xml"/><Relationship Id="rId9" Type="http://schemas.openxmlformats.org/officeDocument/2006/relationships/image" Target="../media/image14.emf"/><Relationship Id="rId14" Type="http://schemas.openxmlformats.org/officeDocument/2006/relationships/image" Target="../media/image18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43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430.xml"/><Relationship Id="rId1" Type="http://schemas.openxmlformats.org/officeDocument/2006/relationships/tags" Target="../tags/tag429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33.xml"/><Relationship Id="rId10" Type="http://schemas.openxmlformats.org/officeDocument/2006/relationships/image" Target="../media/image21.svg"/><Relationship Id="rId4" Type="http://schemas.openxmlformats.org/officeDocument/2006/relationships/tags" Target="../tags/tag432.xml"/><Relationship Id="rId9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40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435.xml"/><Relationship Id="rId7" Type="http://schemas.openxmlformats.org/officeDocument/2006/relationships/tags" Target="../tags/tag439.xml"/><Relationship Id="rId12" Type="http://schemas.openxmlformats.org/officeDocument/2006/relationships/slideLayout" Target="../slideLayouts/slideLayout33.xml"/><Relationship Id="rId2" Type="http://schemas.openxmlformats.org/officeDocument/2006/relationships/tags" Target="../tags/tag434.xml"/><Relationship Id="rId1" Type="http://schemas.openxmlformats.org/officeDocument/2006/relationships/tags" Target="../tags/tag433.xml"/><Relationship Id="rId6" Type="http://schemas.openxmlformats.org/officeDocument/2006/relationships/tags" Target="../tags/tag438.xml"/><Relationship Id="rId11" Type="http://schemas.openxmlformats.org/officeDocument/2006/relationships/tags" Target="../tags/tag443.xml"/><Relationship Id="rId5" Type="http://schemas.openxmlformats.org/officeDocument/2006/relationships/tags" Target="../tags/tag437.xml"/><Relationship Id="rId15" Type="http://schemas.openxmlformats.org/officeDocument/2006/relationships/image" Target="../media/image14.emf"/><Relationship Id="rId10" Type="http://schemas.openxmlformats.org/officeDocument/2006/relationships/tags" Target="../tags/tag442.xml"/><Relationship Id="rId4" Type="http://schemas.openxmlformats.org/officeDocument/2006/relationships/tags" Target="../tags/tag436.xml"/><Relationship Id="rId9" Type="http://schemas.openxmlformats.org/officeDocument/2006/relationships/tags" Target="../tags/tag441.xml"/><Relationship Id="rId14" Type="http://schemas.openxmlformats.org/officeDocument/2006/relationships/oleObject" Target="../embeddings/oleObject4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23.svg"/><Relationship Id="rId3" Type="http://schemas.openxmlformats.org/officeDocument/2006/relationships/tags" Target="../tags/tag446.xml"/><Relationship Id="rId7" Type="http://schemas.openxmlformats.org/officeDocument/2006/relationships/tags" Target="../tags/tag450.xml"/><Relationship Id="rId12" Type="http://schemas.openxmlformats.org/officeDocument/2006/relationships/image" Target="../media/image22.png"/><Relationship Id="rId2" Type="http://schemas.openxmlformats.org/officeDocument/2006/relationships/tags" Target="../tags/tag445.xml"/><Relationship Id="rId1" Type="http://schemas.openxmlformats.org/officeDocument/2006/relationships/tags" Target="../tags/tag444.xml"/><Relationship Id="rId6" Type="http://schemas.openxmlformats.org/officeDocument/2006/relationships/tags" Target="../tags/tag449.xml"/><Relationship Id="rId11" Type="http://schemas.openxmlformats.org/officeDocument/2006/relationships/image" Target="../media/image14.emf"/><Relationship Id="rId5" Type="http://schemas.openxmlformats.org/officeDocument/2006/relationships/tags" Target="../tags/tag448.xml"/><Relationship Id="rId15" Type="http://schemas.openxmlformats.org/officeDocument/2006/relationships/image" Target="../media/image25.svg"/><Relationship Id="rId10" Type="http://schemas.openxmlformats.org/officeDocument/2006/relationships/oleObject" Target="../embeddings/oleObject50.bin"/><Relationship Id="rId4" Type="http://schemas.openxmlformats.org/officeDocument/2006/relationships/tags" Target="../tags/tag447.xml"/><Relationship Id="rId9" Type="http://schemas.openxmlformats.org/officeDocument/2006/relationships/notesSlide" Target="../notesSlides/notesSlide3.xml"/><Relationship Id="rId1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375E70C3-86D5-EC0C-CFBD-F3AECFFA71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04" imgH="403" progId="TCLayout.ActiveDocument.1">
                  <p:embed/>
                </p:oleObj>
              </mc:Choice>
              <mc:Fallback>
                <p:oleObj name="think-cell Slide" r:id="rId8" imgW="404" imgH="403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375E70C3-86D5-EC0C-CFBD-F3AECFFA71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Rectangle 1">
            <a:extLst>
              <a:ext uri="{FF2B5EF4-FFF2-40B4-BE49-F238E27FC236}">
                <a16:creationId xmlns:a16="http://schemas.microsoft.com/office/drawing/2014/main" id="{70541CF4-D2A4-37F7-F017-27FFE8D1D0EB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4BE96F8-C350-FDD6-5F7D-541DB718D65C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Right Triangle 44">
              <a:extLst>
                <a:ext uri="{FF2B5EF4-FFF2-40B4-BE49-F238E27FC236}">
                  <a16:creationId xmlns:a16="http://schemas.microsoft.com/office/drawing/2014/main" id="{DDBDB479-0EAA-695F-9CB5-CE58CEC30495}"/>
                </a:ext>
              </a:extLst>
            </p:cNvPr>
            <p:cNvSpPr/>
            <p:nvPr/>
          </p:nvSpPr>
          <p:spPr>
            <a:xfrm flipH="1">
              <a:off x="9855200" y="3806934"/>
              <a:ext cx="2336800" cy="3051066"/>
            </a:xfrm>
            <a:prstGeom prst="rtTriangle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7A35756A-EBFD-DB41-6E61-292A252898D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19264" y="6412684"/>
            <a:ext cx="1670449" cy="329213"/>
          </a:xfrm>
          <a:prstGeom prst="rect">
            <a:avLst/>
          </a:prstGeom>
        </p:spPr>
      </p:pic>
      <p:sp>
        <p:nvSpPr>
          <p:cNvPr id="13" name="2. Slide Title">
            <a:extLst>
              <a:ext uri="{FF2B5EF4-FFF2-40B4-BE49-F238E27FC236}">
                <a16:creationId xmlns:a16="http://schemas.microsoft.com/office/drawing/2014/main" id="{347FA692-B7E7-75C4-6CBF-3AEEAA6527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26743" y="1755253"/>
            <a:ext cx="6309321" cy="984885"/>
          </a:xfrm>
        </p:spPr>
        <p:txBody>
          <a:bodyPr vert="horz" wrap="square">
            <a:spAutoFit/>
          </a:bodyPr>
          <a:lstStyle/>
          <a:p>
            <a:pPr>
              <a:buClr>
                <a:schemeClr val="tx2"/>
              </a:buClr>
            </a:pPr>
            <a:r>
              <a:rPr lang="en-US" sz="3200" dirty="0">
                <a:solidFill>
                  <a:schemeClr val="bg2"/>
                </a:solidFill>
                <a:cs typeface="Arial"/>
              </a:rPr>
              <a:t>Energy Improvement in Rural or Remote Areas (ERA)</a:t>
            </a:r>
            <a:endParaRPr lang="en-US" sz="3200" dirty="0">
              <a:solidFill>
                <a:schemeClr val="bg2"/>
              </a:solidFill>
            </a:endParaRPr>
          </a:p>
        </p:txBody>
      </p:sp>
      <p:sp>
        <p:nvSpPr>
          <p:cNvPr id="16" name="Subtitle 13">
            <a:extLst>
              <a:ext uri="{FF2B5EF4-FFF2-40B4-BE49-F238E27FC236}">
                <a16:creationId xmlns:a16="http://schemas.microsoft.com/office/drawing/2014/main" id="{E7E48DE2-497F-2E71-400D-9470308549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15982" y="3189684"/>
            <a:ext cx="5177207" cy="692497"/>
          </a:xfrm>
        </p:spPr>
        <p:txBody>
          <a:bodyPr wrap="square">
            <a:noAutofit/>
          </a:bodyPr>
          <a:lstStyle/>
          <a:p>
            <a:r>
              <a:rPr lang="en-US" sz="2000">
                <a:solidFill>
                  <a:schemeClr val="bg2"/>
                </a:solidFill>
              </a:rPr>
              <a:t>Application due*: </a:t>
            </a:r>
          </a:p>
          <a:p>
            <a:r>
              <a:rPr lang="en-US" sz="2000">
                <a:solidFill>
                  <a:schemeClr val="bg2"/>
                </a:solidFill>
              </a:rPr>
              <a:t>6/28/2024</a:t>
            </a:r>
          </a:p>
        </p:txBody>
      </p:sp>
      <p:grpSp>
        <p:nvGrpSpPr>
          <p:cNvPr id="37" name="CustomIcon">
            <a:extLst>
              <a:ext uri="{FF2B5EF4-FFF2-40B4-BE49-F238E27FC236}">
                <a16:creationId xmlns:a16="http://schemas.microsoft.com/office/drawing/2014/main" id="{06265480-CFC8-C203-AA5A-ED0A91D92485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5326743" y="3103845"/>
            <a:ext cx="787231" cy="787231"/>
            <a:chOff x="-205105" y="-205105"/>
            <a:chExt cx="1019810" cy="101981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94D70B7-F028-F6D5-F24B-0F2CE80450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lt1"/>
            </a:solidFill>
            <a:ln w="6350" cap="sq">
              <a:pattFill prst="solidDmnd">
                <a:fgClr>
                  <a:srgbClr val="277C78"/>
                </a:fgClr>
                <a:bgClr>
                  <a:srgbClr val="277C78"/>
                </a:bgClr>
              </a:patt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2CCE907A-E4DB-15CF-DA99-D7A279B8DB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17" name="2. Slide Title">
            <a:extLst>
              <a:ext uri="{FF2B5EF4-FFF2-40B4-BE49-F238E27FC236}">
                <a16:creationId xmlns:a16="http://schemas.microsoft.com/office/drawing/2014/main" id="{E93430B4-8AE4-54B3-1DB6-5C8CABDC7CF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315982" y="4494512"/>
            <a:ext cx="5177207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  <a:defRPr lang="en-US" sz="1600" b="1" baseline="0"/>
            </a:lvl1pPr>
            <a:lvl2pPr marL="457178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None/>
              <a:defRPr lang="en-US" sz="2000"/>
            </a:lvl2pPr>
            <a:lvl3pPr marL="914354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lang="en-US"/>
            </a:lvl3pPr>
            <a:lvl4pPr marL="1371532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/>
            </a:lvl4pPr>
            <a:lvl5pPr marL="1828709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/>
            </a:lvl5pPr>
            <a:lvl6pPr marL="2285886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2743062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3200240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3657418" indent="0" algn="ct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ailable funding for 2024: $300M</a:t>
            </a:r>
          </a:p>
        </p:txBody>
      </p:sp>
      <p:grpSp>
        <p:nvGrpSpPr>
          <p:cNvPr id="41" name="CustomIcon">
            <a:extLst>
              <a:ext uri="{FF2B5EF4-FFF2-40B4-BE49-F238E27FC236}">
                <a16:creationId xmlns:a16="http://schemas.microsoft.com/office/drawing/2014/main" id="{39F03CA2-8FCF-15D4-BF5B-79D6390555E6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5326743" y="4254785"/>
            <a:ext cx="787231" cy="787231"/>
            <a:chOff x="-205105" y="-205105"/>
            <a:chExt cx="1019810" cy="1019810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091E4C30-60AF-2D1E-C44B-5AD6734F33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lt1"/>
            </a:solidFill>
            <a:ln w="6350" cap="sq">
              <a:pattFill prst="solidDmnd">
                <a:fgClr>
                  <a:srgbClr val="277C78"/>
                </a:fgClr>
                <a:bgClr>
                  <a:srgbClr val="277C78"/>
                </a:bgClr>
              </a:patt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70B40825-2368-D009-2B02-08DE7EDCF3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7" name="5. Source">
            <a:extLst>
              <a:ext uri="{FF2B5EF4-FFF2-40B4-BE49-F238E27FC236}">
                <a16:creationId xmlns:a16="http://schemas.microsoft.com/office/drawing/2014/main" id="{5E204A6E-8C70-06BA-B8CA-463F04423FB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chemeClr val="tx2"/>
              </a:buClr>
            </a:pPr>
            <a:r>
              <a:rPr lang="en-US" dirty="0" err="1">
                <a:solidFill>
                  <a:schemeClr val="tx2"/>
                </a:solidFill>
                <a:ea typeface="+mn-ea"/>
                <a:cs typeface="+mn-cs"/>
              </a:rPr>
              <a:t>Source:https</a:t>
            </a:r>
            <a:r>
              <a:rPr lang="en-US" dirty="0">
                <a:solidFill>
                  <a:schemeClr val="tx2"/>
                </a:solidFill>
                <a:ea typeface="+mn-ea"/>
                <a:cs typeface="+mn-cs"/>
              </a:rPr>
              <a:t>://www.energy.gov/oced/er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C25412-2DFC-5145-CCFD-53CAF9FF0FB3}"/>
              </a:ext>
            </a:extLst>
          </p:cNvPr>
          <p:cNvSpPr txBox="1"/>
          <p:nvPr/>
        </p:nvSpPr>
        <p:spPr>
          <a:xfrm>
            <a:off x="5326743" y="5405725"/>
            <a:ext cx="4470400" cy="3822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i="1">
                <a:solidFill>
                  <a:schemeClr val="bg2"/>
                </a:solidFill>
              </a:rPr>
              <a:t>**New grant, no previous winners**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8083BF-07D7-DEF5-62B0-6C799CC3F501}"/>
              </a:ext>
            </a:extLst>
          </p:cNvPr>
          <p:cNvSpPr txBox="1"/>
          <p:nvPr/>
        </p:nvSpPr>
        <p:spPr>
          <a:xfrm>
            <a:off x="2365812" y="6668135"/>
            <a:ext cx="746037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ocument intended to provide insight based on currently available information for consideration and not specific advic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3D4061B-825D-CA3D-5D27-7F36D4BBE777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067" y="1101600"/>
            <a:ext cx="4654800" cy="46548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9050710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375E70C3-86D5-EC0C-CFBD-F3AECFFA71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3" progId="TCLayout.ActiveDocument.1">
                  <p:embed/>
                </p:oleObj>
              </mc:Choice>
              <mc:Fallback>
                <p:oleObj name="think-cell Slide" r:id="rId7" imgW="404" imgH="403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375E70C3-86D5-EC0C-CFBD-F3AECFFA71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>
            <a:extLst>
              <a:ext uri="{FF2B5EF4-FFF2-40B4-BE49-F238E27FC236}">
                <a16:creationId xmlns:a16="http://schemas.microsoft.com/office/drawing/2014/main" id="{7CE79696-8283-CC68-A37A-B664576199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919250"/>
            <a:ext cx="11082528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9533F71-6456-8097-4CC2-C568373660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5" y="41597"/>
            <a:ext cx="3843338" cy="12311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A7F3B9F-30F9-AD01-C399-20EA8D3E9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34291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>
                <a:latin typeface="Arial" panose="020B0604020202020204" pitchFamily="34" charset="0"/>
              </a:rPr>
              <a:t>The </a:t>
            </a:r>
            <a:r>
              <a:rPr lang="en-US">
                <a:latin typeface="Arial" panose="020B0604020202020204" pitchFamily="34" charset="0"/>
                <a:cs typeface="Arial"/>
              </a:rPr>
              <a:t>Energy Improvement in Rural or Remote Areas </a:t>
            </a:r>
            <a:r>
              <a:rPr lang="en-US">
                <a:latin typeface="Arial" panose="020B0604020202020204" pitchFamily="34" charset="0"/>
              </a:rPr>
              <a:t>will fund projects that advance clean energy solutions in rural and remote areas</a:t>
            </a:r>
          </a:p>
        </p:txBody>
      </p:sp>
      <p:sp>
        <p:nvSpPr>
          <p:cNvPr id="2" name="5. Source">
            <a:extLst>
              <a:ext uri="{FF2B5EF4-FFF2-40B4-BE49-F238E27FC236}">
                <a16:creationId xmlns:a16="http://schemas.microsoft.com/office/drawing/2014/main" id="{2877688B-4FDF-7E7D-CF33-618C0D0CFFD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https://www.energy.gov/oced/er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29D9B8F-F340-33AB-BDDC-B38028041177}"/>
              </a:ext>
            </a:extLst>
          </p:cNvPr>
          <p:cNvSpPr txBox="1">
            <a:spLocks/>
          </p:cNvSpPr>
          <p:nvPr/>
        </p:nvSpPr>
        <p:spPr>
          <a:xfrm>
            <a:off x="1824734" y="2729668"/>
            <a:ext cx="9812529" cy="209288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/>
              <a:t>This opportunity provides financial investment, technical assistance, and other resources to advance clean energy demonstrations and energy solutions in rural and remote areas that can be replicated and scaled</a:t>
            </a:r>
          </a:p>
          <a:p>
            <a:pPr>
              <a:spcBef>
                <a:spcPts val="1200"/>
              </a:spcBef>
            </a:pPr>
            <a:r>
              <a:rPr lang="en-US"/>
              <a:t>The main goals of the program are to: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/>
              <a:t>Deliver measurable benefits to energy customers in rural or remote area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/>
              <a:t>Demonstrate new rural or remote energy system model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/>
              <a:t>Build clean energy knowledge, capacity, and self-reliance in rural America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B8D328-AA8C-D119-58D1-4498D922FA6A}"/>
              </a:ext>
            </a:extLst>
          </p:cNvPr>
          <p:cNvSpPr txBox="1"/>
          <p:nvPr/>
        </p:nvSpPr>
        <p:spPr>
          <a:xfrm>
            <a:off x="1824736" y="1673942"/>
            <a:ext cx="9812528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/>
              <a:t>Goals and merit criteria for Energy Improvement in Rural or Remote Areas grants:</a:t>
            </a:r>
          </a:p>
        </p:txBody>
      </p:sp>
      <p:grpSp>
        <p:nvGrpSpPr>
          <p:cNvPr id="15" name="CustomIcon">
            <a:extLst>
              <a:ext uri="{FF2B5EF4-FFF2-40B4-BE49-F238E27FC236}">
                <a16:creationId xmlns:a16="http://schemas.microsoft.com/office/drawing/2014/main" id="{98778F14-B6C8-37F9-1773-7D8037433B41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554736" y="1705605"/>
            <a:ext cx="989103" cy="989103"/>
            <a:chOff x="-205105" y="-205105"/>
            <a:chExt cx="1019810" cy="101981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B33B45A-A3D5-8503-B158-479EE117169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err="1">
                <a:solidFill>
                  <a:schemeClr val="bg1"/>
                </a:solidFill>
              </a:endParaRPr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9A349406-2FD8-8C4D-A053-8DBC21DB97E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cxnSp>
        <p:nvCxnSpPr>
          <p:cNvPr id="3" name="LineBasicImpact 7">
            <a:extLst>
              <a:ext uri="{FF2B5EF4-FFF2-40B4-BE49-F238E27FC236}">
                <a16:creationId xmlns:a16="http://schemas.microsoft.com/office/drawing/2014/main" id="{080B1126-8D89-1BEB-6EC4-BBBCF2F53C10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824736" y="2434168"/>
            <a:ext cx="9437804" cy="0"/>
          </a:xfrm>
          <a:prstGeom prst="straightConnector1">
            <a:avLst/>
          </a:prstGeom>
          <a:ln w="3810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02359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375E70C3-86D5-EC0C-CFBD-F3AECFFA71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4" imgH="403" progId="TCLayout.ActiveDocument.1">
                  <p:embed/>
                </p:oleObj>
              </mc:Choice>
              <mc:Fallback>
                <p:oleObj name="think-cell Slide" r:id="rId14" imgW="404" imgH="403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375E70C3-86D5-EC0C-CFBD-F3AECFFA71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3. Subtitle">
            <a:extLst>
              <a:ext uri="{FF2B5EF4-FFF2-40B4-BE49-F238E27FC236}">
                <a16:creationId xmlns:a16="http://schemas.microsoft.com/office/drawing/2014/main" id="{E47E7055-EC6F-ED7A-7ADB-3B017D55C075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919250"/>
            <a:ext cx="11082528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>
              <a:buNone/>
            </a:pPr>
            <a:r>
              <a:rPr lang="en-US"/>
              <a:t>Assistance for the Energy Improvement in Rural or Remote Areas grants cover two topic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53F5BD6-62DD-D60A-3886-77AC4A8055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4735" y="41597"/>
            <a:ext cx="3843338" cy="12311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endParaRPr lang="en-US"/>
          </a:p>
        </p:txBody>
      </p:sp>
      <p:sp>
        <p:nvSpPr>
          <p:cNvPr id="5" name="2. Slide Title">
            <a:extLst>
              <a:ext uri="{FF2B5EF4-FFF2-40B4-BE49-F238E27FC236}">
                <a16:creationId xmlns:a16="http://schemas.microsoft.com/office/drawing/2014/main" id="{1350216A-E851-6782-416D-8A0DC6BBC7B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34291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>
                <a:latin typeface="Arial" panose="020B0604020202020204" pitchFamily="34" charset="0"/>
              </a:rPr>
              <a:t>Assistance for Energy Improvement in Rural or Remote Areas grant details</a:t>
            </a:r>
          </a:p>
        </p:txBody>
      </p:sp>
      <p:cxnSp>
        <p:nvCxnSpPr>
          <p:cNvPr id="80" name="LineBasicDefault 119">
            <a:extLst>
              <a:ext uri="{FF2B5EF4-FFF2-40B4-BE49-F238E27FC236}">
                <a16:creationId xmlns:a16="http://schemas.microsoft.com/office/drawing/2014/main" id="{D83BA48A-0F2B-9EA6-8663-88F8879FDADA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54736" y="4760521"/>
            <a:ext cx="11082528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B7DB93CE-FE85-73C1-4462-42152E3C8A14}"/>
              </a:ext>
            </a:extLst>
          </p:cNvPr>
          <p:cNvSpPr txBox="1">
            <a:spLocks/>
          </p:cNvSpPr>
          <p:nvPr/>
        </p:nvSpPr>
        <p:spPr>
          <a:xfrm>
            <a:off x="2295464" y="5128735"/>
            <a:ext cx="830356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ward numb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F4C5381-25A6-DCB4-AC7E-E88D4C851FDC}"/>
              </a:ext>
            </a:extLst>
          </p:cNvPr>
          <p:cNvSpPr txBox="1">
            <a:spLocks/>
          </p:cNvSpPr>
          <p:nvPr/>
        </p:nvSpPr>
        <p:spPr>
          <a:xfrm>
            <a:off x="2295464" y="5425507"/>
            <a:ext cx="878446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pplicant shar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7BA88C0-7785-9304-8016-ECCD0B34D7D4}"/>
              </a:ext>
            </a:extLst>
          </p:cNvPr>
          <p:cNvSpPr txBox="1">
            <a:spLocks/>
          </p:cNvSpPr>
          <p:nvPr/>
        </p:nvSpPr>
        <p:spPr>
          <a:xfrm>
            <a:off x="554735" y="4809389"/>
            <a:ext cx="135897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ward amount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9F62DE6-BB41-4807-A069-EA5570E435B4}"/>
              </a:ext>
            </a:extLst>
          </p:cNvPr>
          <p:cNvSpPr txBox="1">
            <a:spLocks/>
          </p:cNvSpPr>
          <p:nvPr/>
        </p:nvSpPr>
        <p:spPr>
          <a:xfrm>
            <a:off x="2295464" y="4831963"/>
            <a:ext cx="625171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ward size</a:t>
            </a:r>
          </a:p>
        </p:txBody>
      </p:sp>
      <p:cxnSp>
        <p:nvCxnSpPr>
          <p:cNvPr id="88" name="LineBasicDefault 119">
            <a:extLst>
              <a:ext uri="{FF2B5EF4-FFF2-40B4-BE49-F238E27FC236}">
                <a16:creationId xmlns:a16="http://schemas.microsoft.com/office/drawing/2014/main" id="{95E7844F-0AEE-4A70-9474-D044DBC8DBB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2295464" y="5057293"/>
            <a:ext cx="9341800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LineBasicDefault 119">
            <a:extLst>
              <a:ext uri="{FF2B5EF4-FFF2-40B4-BE49-F238E27FC236}">
                <a16:creationId xmlns:a16="http://schemas.microsoft.com/office/drawing/2014/main" id="{A56FB7E5-76D7-6391-4630-848FB5A1120F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2295464" y="5354065"/>
            <a:ext cx="9341800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LineBasicDefault 119">
            <a:extLst>
              <a:ext uri="{FF2B5EF4-FFF2-40B4-BE49-F238E27FC236}">
                <a16:creationId xmlns:a16="http://schemas.microsoft.com/office/drawing/2014/main" id="{5424F003-1710-7C3B-4F0D-316ECE425E6B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2295464" y="5650837"/>
            <a:ext cx="9341800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B754CBA-23ED-4757-6CAE-C46D43BCBA7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>
                <a:ea typeface="+mn-ea"/>
                <a:cs typeface="+mn-cs"/>
              </a:rPr>
              <a:t>Source: …</a:t>
            </a:r>
          </a:p>
        </p:txBody>
      </p:sp>
      <p:sp>
        <p:nvSpPr>
          <p:cNvPr id="8" name="5. Source">
            <a:extLst>
              <a:ext uri="{FF2B5EF4-FFF2-40B4-BE49-F238E27FC236}">
                <a16:creationId xmlns:a16="http://schemas.microsoft.com/office/drawing/2014/main" id="{8A22082C-3279-49BC-C162-588A27AD273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https://www.energy.gov/oced/era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64D6680-6E9C-B591-C22F-B4DAC4EEE171}"/>
              </a:ext>
            </a:extLst>
          </p:cNvPr>
          <p:cNvSpPr txBox="1">
            <a:spLocks/>
          </p:cNvSpPr>
          <p:nvPr/>
        </p:nvSpPr>
        <p:spPr>
          <a:xfrm>
            <a:off x="2295464" y="5722279"/>
            <a:ext cx="1564531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Total anticipated Fed Share</a:t>
            </a:r>
            <a:endParaRPr kumimoji="0" lang="en-US" sz="1000" b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" name="LineBasicStrong 123">
            <a:extLst>
              <a:ext uri="{FF2B5EF4-FFF2-40B4-BE49-F238E27FC236}">
                <a16:creationId xmlns:a16="http://schemas.microsoft.com/office/drawing/2014/main" id="{DEB85619-E022-B375-9655-8D75E6270370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54736" y="2847922"/>
            <a:ext cx="11082528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LineBasicStrong 123">
            <a:extLst>
              <a:ext uri="{FF2B5EF4-FFF2-40B4-BE49-F238E27FC236}">
                <a16:creationId xmlns:a16="http://schemas.microsoft.com/office/drawing/2014/main" id="{75804F37-FF51-A1A4-E40E-201D83B59542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554736" y="1951925"/>
            <a:ext cx="11082528" cy="0"/>
          </a:xfrm>
          <a:prstGeom prst="straightConnector1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6C4ADC7E-70C2-2479-3019-5AF9089694C5}"/>
              </a:ext>
            </a:extLst>
          </p:cNvPr>
          <p:cNvSpPr txBox="1">
            <a:spLocks/>
          </p:cNvSpPr>
          <p:nvPr/>
        </p:nvSpPr>
        <p:spPr>
          <a:xfrm>
            <a:off x="2295464" y="1725411"/>
            <a:ext cx="4464565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unity-Scale Demonstration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8AB3A42-EEFB-6B4C-8135-1927C8D2F9B5}"/>
              </a:ext>
            </a:extLst>
          </p:cNvPr>
          <p:cNvSpPr txBox="1">
            <a:spLocks/>
          </p:cNvSpPr>
          <p:nvPr/>
        </p:nvSpPr>
        <p:spPr>
          <a:xfrm>
            <a:off x="7060474" y="1725411"/>
            <a:ext cx="4576790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rge-Scale Demonstration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6D62243-46FA-C66F-2BCE-AF922B03D6FB}"/>
              </a:ext>
            </a:extLst>
          </p:cNvPr>
          <p:cNvSpPr txBox="1">
            <a:spLocks/>
          </p:cNvSpPr>
          <p:nvPr/>
        </p:nvSpPr>
        <p:spPr>
          <a:xfrm>
            <a:off x="554735" y="2007039"/>
            <a:ext cx="135897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crip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0D8246-6FBC-93BA-AA4E-32768F82D0D7}"/>
              </a:ext>
            </a:extLst>
          </p:cNvPr>
          <p:cNvSpPr txBox="1">
            <a:spLocks/>
          </p:cNvSpPr>
          <p:nvPr/>
        </p:nvSpPr>
        <p:spPr>
          <a:xfrm>
            <a:off x="7060474" y="2007039"/>
            <a:ext cx="4576790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Funding available to implement clean energy projects with a Federal cost share of at least $10 million and at most $100 million. Projects should benefit multiple communities, either through a single installation (single site project), or through a series of installations with similar or complementary characteristics across multiple communities (aggregation projects)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787504E-86DC-A722-255F-18E7E49A85DF}"/>
              </a:ext>
            </a:extLst>
          </p:cNvPr>
          <p:cNvSpPr txBox="1">
            <a:spLocks/>
          </p:cNvSpPr>
          <p:nvPr/>
        </p:nvSpPr>
        <p:spPr>
          <a:xfrm>
            <a:off x="2295464" y="2007039"/>
            <a:ext cx="4464565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/>
              <a:t>Funding available to implement clean energy projects with a Federal cost share of at least $5 million and at most $10 million, using one or more clean energy technologies that advance resilience and provide other benefits to one or more rural or remote communities.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B8D2B02-D14B-D426-FF88-A537A4D8E3CE}"/>
              </a:ext>
            </a:extLst>
          </p:cNvPr>
          <p:cNvSpPr txBox="1">
            <a:spLocks/>
          </p:cNvSpPr>
          <p:nvPr/>
        </p:nvSpPr>
        <p:spPr>
          <a:xfrm>
            <a:off x="554735" y="2919364"/>
            <a:ext cx="135897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igible grant us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739A883-DFE2-BD55-CD50-9364F14FF761}"/>
              </a:ext>
            </a:extLst>
          </p:cNvPr>
          <p:cNvSpPr txBox="1">
            <a:spLocks/>
          </p:cNvSpPr>
          <p:nvPr/>
        </p:nvSpPr>
        <p:spPr>
          <a:xfrm>
            <a:off x="7060474" y="2919364"/>
            <a:ext cx="4576790" cy="17697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sz="1000"/>
              <a:t>Solar and/or wind farms, with or without energy storage, in multiple locations that share a common administrative and support staff</a:t>
            </a:r>
          </a:p>
          <a:p>
            <a:pPr lvl="1">
              <a:spcBef>
                <a:spcPts val="300"/>
              </a:spcBef>
            </a:pPr>
            <a:r>
              <a:rPr lang="en-US" sz="1000"/>
              <a:t>Utility-scale solar, wind farm and/or hydrogen or battery storage facility</a:t>
            </a:r>
          </a:p>
          <a:p>
            <a:pPr lvl="1">
              <a:spcBef>
                <a:spcPts val="300"/>
              </a:spcBef>
            </a:pPr>
            <a:r>
              <a:rPr lang="en-US" sz="1000"/>
              <a:t>Bioreactor that uses locally available biomass to replace fossil fuel generation</a:t>
            </a:r>
          </a:p>
          <a:p>
            <a:pPr lvl="1">
              <a:spcBef>
                <a:spcPts val="300"/>
              </a:spcBef>
            </a:pPr>
            <a:r>
              <a:rPr lang="en-US" sz="1000"/>
              <a:t>Renewables project that delivers significant additional benefits to a local community. </a:t>
            </a:r>
          </a:p>
          <a:p>
            <a:pPr lvl="1">
              <a:spcBef>
                <a:spcPts val="300"/>
              </a:spcBef>
            </a:pPr>
            <a:r>
              <a:rPr lang="en-US" sz="1000"/>
              <a:t>Transmission investment that reduces reliance on fossil fuels</a:t>
            </a:r>
          </a:p>
          <a:p>
            <a:pPr lvl="1">
              <a:spcBef>
                <a:spcPts val="300"/>
              </a:spcBef>
            </a:pPr>
            <a:r>
              <a:rPr lang="en-US" sz="1000"/>
              <a:t>Clean energy generation in an area having trouble attracting investment due to geographic isolation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B0DE798-B47D-320F-6673-A198AAD95EB4}"/>
              </a:ext>
            </a:extLst>
          </p:cNvPr>
          <p:cNvSpPr txBox="1">
            <a:spLocks/>
          </p:cNvSpPr>
          <p:nvPr/>
        </p:nvSpPr>
        <p:spPr>
          <a:xfrm>
            <a:off x="2295464" y="2919364"/>
            <a:ext cx="4464565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Bef>
                <a:spcPts val="300"/>
              </a:spcBef>
            </a:pPr>
            <a:r>
              <a:rPr lang="en-US" sz="1000"/>
              <a:t>Microgrid designs and service models</a:t>
            </a:r>
          </a:p>
          <a:p>
            <a:pPr lvl="1">
              <a:spcBef>
                <a:spcPts val="300"/>
              </a:spcBef>
            </a:pPr>
            <a:r>
              <a:rPr lang="en-US" sz="1000"/>
              <a:t>Small hydropower systems</a:t>
            </a:r>
          </a:p>
          <a:p>
            <a:pPr lvl="1">
              <a:spcBef>
                <a:spcPts val="300"/>
              </a:spcBef>
            </a:pPr>
            <a:r>
              <a:rPr lang="en-US" sz="1000"/>
              <a:t>Hybrid configurations of distributed energy resources that are operable during extreme weath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B46DE07-37A8-FD58-5F56-AC050E40B2ED}"/>
              </a:ext>
            </a:extLst>
          </p:cNvPr>
          <p:cNvSpPr txBox="1"/>
          <p:nvPr/>
        </p:nvSpPr>
        <p:spPr>
          <a:xfrm>
            <a:off x="4753231" y="4832487"/>
            <a:ext cx="5813170" cy="1538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 dirty="0"/>
              <a:t>Community scale demonstrations ($5M-$10M) ; Large scale demonstrations ($10M - $100M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1C2BDC-62DB-5B4A-E704-01628057EFAD}"/>
              </a:ext>
            </a:extLst>
          </p:cNvPr>
          <p:cNvSpPr txBox="1"/>
          <p:nvPr/>
        </p:nvSpPr>
        <p:spPr>
          <a:xfrm>
            <a:off x="4753231" y="5119475"/>
            <a:ext cx="5813170" cy="1538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 dirty="0"/>
              <a:t>Community scale demonstrations (4 - 8) ; Large scale demonstrations (3 - 20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C8807C-8D3B-19E1-A942-AD94691A6E50}"/>
              </a:ext>
            </a:extLst>
          </p:cNvPr>
          <p:cNvSpPr txBox="1"/>
          <p:nvPr/>
        </p:nvSpPr>
        <p:spPr>
          <a:xfrm>
            <a:off x="4753231" y="5435985"/>
            <a:ext cx="5813170" cy="1538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 dirty="0"/>
              <a:t>Community scale demonstrations ($1M-$10M) ; Large scale demonstrations ($2M - $100M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7CD7B43-03AC-7D5E-A6EF-BB0B34117578}"/>
              </a:ext>
            </a:extLst>
          </p:cNvPr>
          <p:cNvSpPr txBox="1"/>
          <p:nvPr/>
        </p:nvSpPr>
        <p:spPr>
          <a:xfrm>
            <a:off x="4753231" y="5696204"/>
            <a:ext cx="5813170" cy="1538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None/>
              <a:tabLst/>
              <a:defRPr/>
            </a:pPr>
            <a:r>
              <a:rPr lang="en-US" sz="1000" dirty="0"/>
              <a:t>Community scale demonstrations ($40M) ; Large scale demonstrations ($260M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83094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0498ACB8-85D7-0B91-1E81-62625D92EC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4" imgH="403" progId="TCLayout.ActiveDocument.1">
                  <p:embed/>
                </p:oleObj>
              </mc:Choice>
              <mc:Fallback>
                <p:oleObj name="think-cell Slide" r:id="rId10" imgW="404" imgH="403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0498ACB8-85D7-0B91-1E81-62625D92E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AADF1DF7-E9E3-35B6-275C-EBD2BA2A1FC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34291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pPr>
              <a:buClr>
                <a:schemeClr val="tx1"/>
              </a:buClr>
            </a:pPr>
            <a:r>
              <a:rPr lang="en-US">
                <a:latin typeface="Arial" panose="020B0604020202020204" pitchFamily="34" charset="0"/>
              </a:rPr>
              <a:t>High level requirements to apply for a for Energy Improvement in Rural or Remote Areas grant </a:t>
            </a:r>
          </a:p>
        </p:txBody>
      </p:sp>
      <p:sp>
        <p:nvSpPr>
          <p:cNvPr id="15" name="5. Source">
            <a:extLst>
              <a:ext uri="{FF2B5EF4-FFF2-40B4-BE49-F238E27FC236}">
                <a16:creationId xmlns:a16="http://schemas.microsoft.com/office/drawing/2014/main" id="{31002620-C248-E484-B67A-897BE32153A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https://www.energy.gov/oced/er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C0663A4-F8F2-843B-CE10-270B4507A5B5}"/>
              </a:ext>
            </a:extLst>
          </p:cNvPr>
          <p:cNvSpPr txBox="1">
            <a:spLocks/>
          </p:cNvSpPr>
          <p:nvPr/>
        </p:nvSpPr>
        <p:spPr>
          <a:xfrm>
            <a:off x="554736" y="2737946"/>
            <a:ext cx="2790141" cy="256224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fontAlgn="base">
              <a:buNone/>
            </a:pPr>
            <a:r>
              <a:rPr lang="en-US" sz="1200" b="1" i="1">
                <a:solidFill>
                  <a:srgbClr val="212529"/>
                </a:solidFill>
              </a:rPr>
              <a:t>(As long as they can identify a US area with a population of over 10,000 that would befit from the project),</a:t>
            </a:r>
            <a:r>
              <a:rPr lang="en-US" sz="1200">
                <a:solidFill>
                  <a:srgbClr val="212529"/>
                </a:solidFill>
              </a:rPr>
              <a:t> eligible entities include:</a:t>
            </a:r>
          </a:p>
          <a:p>
            <a:pPr fontAlgn="base">
              <a:buFont typeface="Arial" panose="020B0604020202020204" pitchFamily="34" charset="0"/>
              <a:buChar char="•"/>
            </a:pPr>
            <a:endParaRPr lang="en-US" sz="1200">
              <a:solidFill>
                <a:srgbClr val="212529"/>
              </a:solidFill>
            </a:endParaRP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Institutions of higher education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Non-profit entities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For-profit entities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Tribal Nations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State and local governmental entities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Incorporated Consortia 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Unincorporated Consortia</a:t>
            </a:r>
          </a:p>
        </p:txBody>
      </p:sp>
      <p:sp>
        <p:nvSpPr>
          <p:cNvPr id="16" name="4. Footnote">
            <a:extLst>
              <a:ext uri="{FF2B5EF4-FFF2-40B4-BE49-F238E27FC236}">
                <a16:creationId xmlns:a16="http://schemas.microsoft.com/office/drawing/2014/main" id="{63479BCE-6D9C-73E0-47F0-F63FB1D1CD8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6" y="6110835"/>
            <a:ext cx="7278624" cy="3693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>
                <a:latin typeface="+mn-lt"/>
                <a:ea typeface="+mn-ea"/>
                <a:cs typeface="+mn-cs"/>
              </a:rPr>
              <a:t>1.	Not the requirements to apply for TAC support. Not inclusive of all documents required to apply; please refer to  upcoming NOFO for the full requirements and details</a:t>
            </a:r>
          </a:p>
          <a:p>
            <a:pPr lvl="0"/>
            <a:r>
              <a:rPr lang="en-US">
                <a:latin typeface="+mn-lt"/>
                <a:ea typeface="+mn-ea"/>
                <a:cs typeface="+mn-cs"/>
              </a:rPr>
              <a:t>2.	Excluding supporting document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DC2BDC3-2B75-2C2B-039B-DB450D4F428D}"/>
              </a:ext>
            </a:extLst>
          </p:cNvPr>
          <p:cNvSpPr>
            <a:spLocks/>
          </p:cNvSpPr>
          <p:nvPr/>
        </p:nvSpPr>
        <p:spPr>
          <a:xfrm>
            <a:off x="7467601" y="2790105"/>
            <a:ext cx="4169662" cy="2956794"/>
          </a:xfrm>
          <a:prstGeom prst="roundRect">
            <a:avLst>
              <a:gd name="adj" fmla="val 2280"/>
            </a:avLst>
          </a:prstGeom>
          <a:solidFill>
            <a:schemeClr val="bg1">
              <a:lumMod val="95000"/>
            </a:schemeClr>
          </a:solidFill>
          <a:ln w="6350" cap="sq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DD2BE3B-4655-D282-C400-BB700905A62F}"/>
              </a:ext>
            </a:extLst>
          </p:cNvPr>
          <p:cNvSpPr>
            <a:spLocks/>
          </p:cNvSpPr>
          <p:nvPr/>
        </p:nvSpPr>
        <p:spPr>
          <a:xfrm>
            <a:off x="7467601" y="2674272"/>
            <a:ext cx="4169662" cy="435146"/>
          </a:xfrm>
          <a:prstGeom prst="roundRect">
            <a:avLst>
              <a:gd name="adj" fmla="val 16667"/>
            </a:avLst>
          </a:prstGeom>
          <a:solidFill>
            <a:schemeClr val="tx1">
              <a:lumMod val="50000"/>
              <a:lumOff val="5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FFFFFF"/>
                </a:solidFill>
              </a:rPr>
              <a:t>Additional information on application requirement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B937CFF-799E-778A-6F56-518E4EAF1277}"/>
              </a:ext>
            </a:extLst>
          </p:cNvPr>
          <p:cNvSpPr txBox="1"/>
          <p:nvPr/>
        </p:nvSpPr>
        <p:spPr>
          <a:xfrm>
            <a:off x="3588731" y="2716607"/>
            <a:ext cx="3672413" cy="24852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None/>
              <a:tabLst/>
              <a:defRPr/>
            </a:pPr>
            <a:r>
              <a:rPr lang="en-US" sz="1200" b="1">
                <a:solidFill>
                  <a:srgbClr val="212529"/>
                </a:solidFill>
              </a:rPr>
              <a:t>Full application including: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Cover page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Project overview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Business development and management (including business, management, and financial plan)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/>
              <a:t>EPC&amp;O section (including description of technologies, existing infrastructure, and engineering evaluations)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/>
              <a:t>Safety and Occupational Health, Cybersecurity, Permitting and Regulatory Requirements 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/>
              <a:t>Risk Analysis and Mitigation </a:t>
            </a:r>
          </a:p>
          <a:p>
            <a:pPr lvl="1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rgbClr val="212529"/>
                </a:solidFill>
              </a:rPr>
              <a:t>Workplan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13BF721-B7F5-C654-A8F7-5E57D4769A29}"/>
              </a:ext>
            </a:extLst>
          </p:cNvPr>
          <p:cNvSpPr txBox="1"/>
          <p:nvPr/>
        </p:nvSpPr>
        <p:spPr>
          <a:xfrm>
            <a:off x="7614056" y="3178854"/>
            <a:ext cx="3899072" cy="244682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/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200"/>
              <a:t>Application process includes a Concept Paper phase and a Full Application. Only applicants who have submitted an eligible Concept Paper will be eligible to submit a Full Application. </a:t>
            </a:r>
          </a:p>
          <a:p>
            <a:endParaRPr lang="en-US" sz="1200"/>
          </a:p>
          <a:p>
            <a:r>
              <a:rPr lang="en-US" sz="1200" b="1"/>
              <a:t>Concept paper including:</a:t>
            </a:r>
          </a:p>
          <a:p>
            <a:pPr lvl="1"/>
            <a:r>
              <a:rPr lang="en-US" sz="1200"/>
              <a:t>A statement about the applicant and an attestation of the entity’s authority to adopt building codes</a:t>
            </a:r>
          </a:p>
          <a:p>
            <a:pPr lvl="1"/>
            <a:r>
              <a:rPr lang="en-US" sz="1200"/>
              <a:t>A description of the applicant’s high-level plan to adopt, implement, and enforce the eligible code or codes, or implement and enforce an already adopted eligible code or codes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7A21050-9E79-D390-8506-35CD8D47EE99}"/>
              </a:ext>
            </a:extLst>
          </p:cNvPr>
          <p:cNvSpPr>
            <a:spLocks/>
          </p:cNvSpPr>
          <p:nvPr/>
        </p:nvSpPr>
        <p:spPr>
          <a:xfrm>
            <a:off x="3517859" y="1962140"/>
            <a:ext cx="8119404" cy="571779"/>
          </a:xfrm>
          <a:prstGeom prst="roundRect">
            <a:avLst/>
          </a:prstGeom>
          <a:solidFill>
            <a:srgbClr val="277C7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288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lang="en-US" sz="1400" b="1">
                <a:solidFill>
                  <a:srgbClr val="FFFFFF"/>
                </a:solidFill>
                <a:latin typeface="Arial"/>
              </a:rPr>
              <a:t>	Key Grant Application Components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72CE86FF-D45D-F891-9789-9CB2E315858A}"/>
              </a:ext>
            </a:extLst>
          </p:cNvPr>
          <p:cNvSpPr>
            <a:spLocks/>
          </p:cNvSpPr>
          <p:nvPr/>
        </p:nvSpPr>
        <p:spPr>
          <a:xfrm>
            <a:off x="554736" y="1962140"/>
            <a:ext cx="2790141" cy="571779"/>
          </a:xfrm>
          <a:prstGeom prst="roundRect">
            <a:avLst>
              <a:gd name="adj" fmla="val 16667"/>
            </a:avLst>
          </a:prstGeom>
          <a:solidFill>
            <a:srgbClr val="277C7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8288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igible Entities</a:t>
            </a:r>
          </a:p>
        </p:txBody>
      </p:sp>
      <p:grpSp>
        <p:nvGrpSpPr>
          <p:cNvPr id="35" name="CustomIcon">
            <a:extLst>
              <a:ext uri="{FF2B5EF4-FFF2-40B4-BE49-F238E27FC236}">
                <a16:creationId xmlns:a16="http://schemas.microsoft.com/office/drawing/2014/main" id="{38D36CA6-7966-AC79-DF23-44D282A5B5D3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1648014" y="1551776"/>
            <a:ext cx="603584" cy="603584"/>
            <a:chOff x="-205105" y="-205105"/>
            <a:chExt cx="1019810" cy="101981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74D54DFC-0721-7AC4-2EDC-6A01928545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63D0875D-42DA-3643-3AD0-BC090D6650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grpSp>
        <p:nvGrpSpPr>
          <p:cNvPr id="39" name="CustomIcon">
            <a:extLst>
              <a:ext uri="{FF2B5EF4-FFF2-40B4-BE49-F238E27FC236}">
                <a16:creationId xmlns:a16="http://schemas.microsoft.com/office/drawing/2014/main" id="{2146C7AB-FC75-4455-A48C-AA077F873962}"/>
              </a:ext>
            </a:extLst>
          </p:cNvPr>
          <p:cNvGrpSpPr>
            <a:grpSpLocks/>
          </p:cNvGrpSpPr>
          <p:nvPr>
            <p:custDataLst>
              <p:tags r:id="rId6"/>
            </p:custDataLst>
          </p:nvPr>
        </p:nvGrpSpPr>
        <p:grpSpPr>
          <a:xfrm>
            <a:off x="5805056" y="1551776"/>
            <a:ext cx="603584" cy="603584"/>
            <a:chOff x="-205105" y="-205105"/>
            <a:chExt cx="1019810" cy="101981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CE5895A-10AF-CBED-0C2C-FA897BDFC58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05105" y="-205105"/>
              <a:ext cx="1019810" cy="1019810"/>
            </a:xfrm>
            <a:prstGeom prst="ellipse">
              <a:avLst/>
            </a:prstGeom>
            <a:solidFill>
              <a:schemeClr val="accent1"/>
            </a:solidFill>
            <a:ln w="19050" cap="sq">
              <a:solidFill>
                <a:schemeClr val="tx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54920AB0-C9F0-28D0-C411-2B3DDB8848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0" y="0"/>
              <a:ext cx="609600" cy="609600"/>
            </a:xfrm>
            <a:prstGeom prst="rect">
              <a:avLst/>
            </a:prstGeom>
          </p:spPr>
        </p:pic>
      </p:grp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83189BCE-3C08-CAEF-A6A8-4A4E719CA532}"/>
              </a:ext>
            </a:extLst>
          </p:cNvPr>
          <p:cNvSpPr>
            <a:spLocks/>
          </p:cNvSpPr>
          <p:nvPr/>
        </p:nvSpPr>
        <p:spPr>
          <a:xfrm>
            <a:off x="9208477" y="2003236"/>
            <a:ext cx="2387690" cy="492443"/>
          </a:xfrm>
          <a:prstGeom prst="roundRect">
            <a:avLst/>
          </a:prstGeom>
          <a:solidFill>
            <a:schemeClr val="bg1"/>
          </a:solidFill>
          <a:ln w="6350" cap="sq">
            <a:solidFill>
              <a:srgbClr val="277C7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>
                <a:solidFill>
                  <a:schemeClr val="tx1"/>
                </a:solidFill>
              </a:rPr>
              <a:t>Specific page limits for each application section in the FOA</a:t>
            </a:r>
          </a:p>
        </p:txBody>
      </p:sp>
      <p:cxnSp>
        <p:nvCxnSpPr>
          <p:cNvPr id="44" name="GreyLineSeparatorDefaultVertical 31">
            <a:extLst>
              <a:ext uri="{FF2B5EF4-FFF2-40B4-BE49-F238E27FC236}">
                <a16:creationId xmlns:a16="http://schemas.microsoft.com/office/drawing/2014/main" id="{1EE89BD9-F7DC-EBFA-2E3E-36A679D57E56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431368" y="2716607"/>
            <a:ext cx="0" cy="3103325"/>
          </a:xfrm>
          <a:prstGeom prst="straightConnector1">
            <a:avLst/>
          </a:prstGeom>
          <a:ln w="6350" cap="flat">
            <a:solidFill>
              <a:srgbClr val="D0D0D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>
            <a:extLst>
              <a:ext uri="{FF2B5EF4-FFF2-40B4-BE49-F238E27FC236}">
                <a16:creationId xmlns:a16="http://schemas.microsoft.com/office/drawing/2014/main" id="{6176DC45-7128-00ED-5EBB-05261BAC2F2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201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23-08-21 11:41 AM"/>
  <p:tag name="THINKCELLPRESENTATIONDONOTDELETE" val="&lt;?xml version=&quot;1.0&quot; encoding=&quot;UTF-16&quot; standalone=&quot;yes&quot;?&gt;&lt;root reqver=&quot;27037&quot;&gt;&lt;version val=&quot;3313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DSS_ID" val="9a023e45-0e0b-4faf-915d-32dfde099263"/>
  <p:tag name="ICONFILLBACKGROUND" val="Color [A=255, R=39, G=124, B=120]"/>
  <p:tag name="ICONFILLBACKGROUNDTHEME" val="Accent 1"/>
  <p:tag name="ICONLINEFILL" val="Color [A=255, R=39, G=124, B=120]"/>
  <p:tag name="ICONLINEFILLTHEME" val="Accent 1"/>
  <p:tag name="ICONENCLOSURE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Impact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Stron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reyLineSeparatorDefaultVertica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700">
      <a:srgbClr val="B82525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9F5A5C75-6656-49CB-9F32-A5B63F671386}" vid="{749E634F-BA42-4F08-9385-D85354B60E2F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Cyan 200">
      <a:srgbClr val="99E6FF"/>
    </a:custClr>
    <a:custClr name="Cyan 300">
      <a:srgbClr val="6ECBF7"/>
    </a:custClr>
    <a:custClr name="Cyan 500">
      <a:srgbClr val="00A9F4"/>
    </a:custClr>
    <a:custClr name="Cyan 700">
      <a:srgbClr val="0679C3"/>
    </a:custClr>
    <a:custClr name="Cyan 900">
      <a:srgbClr val="084D91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Cyan 700">
      <a:srgbClr val="0679C3"/>
    </a:custClr>
    <a:custClr name="Cyan 300">
      <a:srgbClr val="6ECBF7"/>
    </a:custClr>
    <a:custClr name="Gray 10%">
      <a:srgbClr val="E6E6E6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900">
      <a:srgbClr val="108980"/>
    </a:custClr>
    <a:custClr name="Marine Green 600">
      <a:srgbClr val="10CBBC"/>
    </a:custClr>
    <a:custClr name="Sand Neutral 300">
      <a:srgbClr val="E6D7BC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Electric Blue 900">
      <a:srgbClr val="061F79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700">
      <a:srgbClr val="103559"/>
    </a:custClr>
    <a:custClr name="Deep Blue 600">
      <a:srgbClr val="1B456E"/>
    </a:custClr>
    <a:custClr name="Deep Blue 500">
      <a:srgbClr val="2B5580"/>
    </a:custClr>
    <a:custClr name="Deep Blue 300">
      <a:srgbClr val="5380AC"/>
    </a:custClr>
    <a:custClr name="Deep Blue 200">
      <a:srgbClr val="82A6C9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9F5A5C75-6656-49CB-9F32-A5B63F671386}" vid="{F5FBFB34-3B77-4F51-9E5E-428204315974}"/>
    </a:ext>
  </a:extLst>
</a:theme>
</file>

<file path=ppt/theme/theme3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77C78"/>
      </a:accent1>
      <a:accent2>
        <a:srgbClr val="08597A"/>
      </a:accent2>
      <a:accent3>
        <a:srgbClr val="142D3E"/>
      </a:accent3>
      <a:accent4>
        <a:srgbClr val="B1D3E1"/>
      </a:accent4>
      <a:accent5>
        <a:srgbClr val="0B76A3"/>
      </a:accent5>
      <a:accent6>
        <a:srgbClr val="CDCDC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77C78"/>
        </a:accent1>
        <a:accent2>
          <a:srgbClr val="08597A"/>
        </a:accent2>
        <a:accent3>
          <a:srgbClr val="142D3E"/>
        </a:accent3>
        <a:accent4>
          <a:srgbClr val="B1D3E1"/>
        </a:accent4>
        <a:accent5>
          <a:srgbClr val="0B76A3"/>
        </a:accent5>
        <a:accent6>
          <a:srgbClr val="CDCDC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3716D"/>
    </a:custClr>
    <a:custClr name="Custom Color7">
      <a:srgbClr val="1D5457"/>
    </a:custClr>
    <a:custClr name="Custom Color8">
      <a:srgbClr val="173842"/>
    </a:custClr>
    <a:custClr name="Custom Color9">
      <a:srgbClr val="252525"/>
    </a:custClr>
  </a:custClrLst>
  <a:extLst>
    <a:ext uri="{05A4C25C-085E-4340-85A3-A5531E510DB2}">
      <thm15:themeFamily xmlns:thm15="http://schemas.microsoft.com/office/thememl/2012/main" name="US1677_OFF_v2.potx" id="{E5D36C7B-8B87-4B61-8184-901E1F9D69F4}" vid="{D59CDAA2-AB51-4D7F-ACDA-4A49AA942FBB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8330b03-3302-4f83-b728-aac46060ff6c" xsi:nil="true"/>
    <lcf76f155ced4ddcb4097134ff3c332f xmlns="7467db8c-36f5-4a17-8bbb-578c1726f84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0727BCAE4CD94BA7D44E2FAD00347B" ma:contentTypeVersion="14" ma:contentTypeDescription="Create a new document." ma:contentTypeScope="" ma:versionID="ec24e629aa1db285890e1e16a7db189a">
  <xsd:schema xmlns:xsd="http://www.w3.org/2001/XMLSchema" xmlns:xs="http://www.w3.org/2001/XMLSchema" xmlns:p="http://schemas.microsoft.com/office/2006/metadata/properties" xmlns:ns2="7467db8c-36f5-4a17-8bbb-578c1726f84c" xmlns:ns3="58330b03-3302-4f83-b728-aac46060ff6c" targetNamespace="http://schemas.microsoft.com/office/2006/metadata/properties" ma:root="true" ma:fieldsID="e8000fe1309086ab80f39f491b15c171" ns2:_="" ns3:_="">
    <xsd:import namespace="7467db8c-36f5-4a17-8bbb-578c1726f84c"/>
    <xsd:import namespace="58330b03-3302-4f83-b728-aac46060ff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67db8c-36f5-4a17-8bbb-578c1726f8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18eb3a52-a9ad-454e-96a1-46bb4cd16a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330b03-3302-4f83-b728-aac46060ff6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ce0e7c2e-6f7d-450c-9d06-c13b2b0ea7ed}" ma:internalName="TaxCatchAll" ma:showField="CatchAllData" ma:web="58330b03-3302-4f83-b728-aac46060ff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01F588E-2F08-4382-B78C-F9099D215B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C52D23D-58D1-4D20-87B0-0C2FCB6A03DF}">
  <ds:schemaRefs>
    <ds:schemaRef ds:uri="http://purl.org/dc/elements/1.1/"/>
    <ds:schemaRef ds:uri="http://purl.org/dc/dcmitype/"/>
    <ds:schemaRef ds:uri="http://schemas.microsoft.com/office/infopath/2007/PartnerControls"/>
    <ds:schemaRef ds:uri="http://www.w3.org/XML/1998/namespace"/>
    <ds:schemaRef ds:uri="7467db8c-36f5-4a17-8bbb-578c1726f84c"/>
    <ds:schemaRef ds:uri="http://schemas.microsoft.com/office/2006/documentManagement/types"/>
    <ds:schemaRef ds:uri="http://schemas.openxmlformats.org/package/2006/metadata/core-properties"/>
    <ds:schemaRef ds:uri="58330b03-3302-4f83-b728-aac46060ff6c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9C3E85FE-5C68-4764-92B4-B26020E42C87}">
  <ds:schemaRefs>
    <ds:schemaRef ds:uri="58330b03-3302-4f83-b728-aac46060ff6c"/>
    <ds:schemaRef ds:uri="7467db8c-36f5-4a17-8bbb-578c1726f84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14</TotalTime>
  <Words>792</Words>
  <Application>Microsoft Office PowerPoint</Application>
  <PresentationFormat>Widescreen</PresentationFormat>
  <Paragraphs>79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Georgia</vt:lpstr>
      <vt:lpstr>Segoe UI</vt:lpstr>
      <vt:lpstr>Wingdings</vt:lpstr>
      <vt:lpstr>White</vt:lpstr>
      <vt:lpstr>Contrast</vt:lpstr>
      <vt:lpstr>1_White</vt:lpstr>
      <vt:lpstr>think-cell Slide</vt:lpstr>
      <vt:lpstr>Energy Improvement in Rural or Remote Areas (ERA)</vt:lpstr>
      <vt:lpstr>The Energy Improvement in Rural or Remote Areas will fund projects that advance clean energy solutions in rural and remote areas</vt:lpstr>
      <vt:lpstr>Assistance for Energy Improvement in Rural or Remote Areas grant details</vt:lpstr>
      <vt:lpstr>High level requirements to apply for a for Energy Improvement in Rural or Remote Areas grant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higan Infrastructure Office – Technical Assistance Center (TAC)</dc:title>
  <dc:subject/>
  <dc:creator>Khalid Yasin</dc:creator>
  <cp:keywords/>
  <dc:description/>
  <cp:lastModifiedBy>Jenalle Huang</cp:lastModifiedBy>
  <cp:revision>82</cp:revision>
  <cp:lastPrinted>2018-10-30T20:37:12Z</cp:lastPrinted>
  <dcterms:created xsi:type="dcterms:W3CDTF">2023-12-05T12:01:45Z</dcterms:created>
  <dcterms:modified xsi:type="dcterms:W3CDTF">2024-05-08T17:41:0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3-08-21 11:41 AM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510727BCAE4CD94BA7D44E2FAD00347B</vt:lpwstr>
  </property>
  <property fmtid="{D5CDD505-2E9C-101B-9397-08002B2CF9AE}" pid="10" name="MediaServiceImageTags">
    <vt:lpwstr/>
  </property>
  <property fmtid="{D5CDD505-2E9C-101B-9397-08002B2CF9AE}" pid="11" name="MSIP_Label_3a2fed65-62e7-46ea-af74-187e0c17143a_Enabled">
    <vt:lpwstr>true</vt:lpwstr>
  </property>
  <property fmtid="{D5CDD505-2E9C-101B-9397-08002B2CF9AE}" pid="12" name="MSIP_Label_3a2fed65-62e7-46ea-af74-187e0c17143a_SetDate">
    <vt:lpwstr>2023-12-18T01:43:05Z</vt:lpwstr>
  </property>
  <property fmtid="{D5CDD505-2E9C-101B-9397-08002B2CF9AE}" pid="13" name="MSIP_Label_3a2fed65-62e7-46ea-af74-187e0c17143a_Method">
    <vt:lpwstr>Privileged</vt:lpwstr>
  </property>
  <property fmtid="{D5CDD505-2E9C-101B-9397-08002B2CF9AE}" pid="14" name="MSIP_Label_3a2fed65-62e7-46ea-af74-187e0c17143a_Name">
    <vt:lpwstr>3a2fed65-62e7-46ea-af74-187e0c17143a</vt:lpwstr>
  </property>
  <property fmtid="{D5CDD505-2E9C-101B-9397-08002B2CF9AE}" pid="15" name="MSIP_Label_3a2fed65-62e7-46ea-af74-187e0c17143a_SiteId">
    <vt:lpwstr>d5fb7087-3777-42ad-966a-892ef47225d1</vt:lpwstr>
  </property>
  <property fmtid="{D5CDD505-2E9C-101B-9397-08002B2CF9AE}" pid="16" name="MSIP_Label_3a2fed65-62e7-46ea-af74-187e0c17143a_ActionId">
    <vt:lpwstr>ed37624a-8ab6-46e6-93c9-b7f2e2206831</vt:lpwstr>
  </property>
  <property fmtid="{D5CDD505-2E9C-101B-9397-08002B2CF9AE}" pid="17" name="MSIP_Label_3a2fed65-62e7-46ea-af74-187e0c17143a_ContentBits">
    <vt:lpwstr>0</vt:lpwstr>
  </property>
</Properties>
</file>